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702" r:id="rId6"/>
    <p:sldMasterId id="2147483721" r:id="rId7"/>
    <p:sldMasterId id="2147483757" r:id="rId8"/>
    <p:sldMasterId id="2147483786" r:id="rId9"/>
  </p:sldMasterIdLst>
  <p:notesMasterIdLst>
    <p:notesMasterId r:id="rId29"/>
  </p:notesMasterIdLst>
  <p:sldIdLst>
    <p:sldId id="1715" r:id="rId10"/>
    <p:sldId id="1724" r:id="rId11"/>
    <p:sldId id="4554" r:id="rId12"/>
    <p:sldId id="1437" r:id="rId13"/>
    <p:sldId id="1415" r:id="rId14"/>
    <p:sldId id="1414" r:id="rId15"/>
    <p:sldId id="1687" r:id="rId16"/>
    <p:sldId id="1720" r:id="rId17"/>
    <p:sldId id="4555" r:id="rId18"/>
    <p:sldId id="1704" r:id="rId19"/>
    <p:sldId id="1492" r:id="rId20"/>
    <p:sldId id="1705" r:id="rId21"/>
    <p:sldId id="1491" r:id="rId22"/>
    <p:sldId id="1664" r:id="rId23"/>
    <p:sldId id="1493" r:id="rId24"/>
    <p:sldId id="1494" r:id="rId25"/>
    <p:sldId id="1496" r:id="rId26"/>
    <p:sldId id="1663" r:id="rId27"/>
    <p:sldId id="1497"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6189676-557F-491B-A02C-FC77697C58F1}">
          <p14:sldIdLst>
            <p14:sldId id="1715"/>
            <p14:sldId id="1724"/>
          </p14:sldIdLst>
        </p14:section>
        <p14:section name="Modern Datacenter" id="{D3DCD9C4-96B1-47E5-9E78-7B81749F4280}">
          <p14:sldIdLst/>
        </p14:section>
        <p14:section name="Challenges Faced" id="{7ABF0EC8-7C88-4290-A78F-BBFAE87EB70C}">
          <p14:sldIdLst/>
        </p14:section>
        <p14:section name="Governance Scaffolding" id="{55A193F3-DA2E-453F-949A-31F9C0716BD3}">
          <p14:sldIdLst/>
        </p14:section>
        <p14:section name="Security Landscape" id="{837C1704-94F1-4024-8A87-7D29B2B92DB4}">
          <p14:sldIdLst/>
        </p14:section>
        <p14:section name="Security Center" id="{AEB26010-81F3-4DFA-9AE8-693442879383}">
          <p14:sldIdLst>
            <p14:sldId id="4554"/>
            <p14:sldId id="1437"/>
            <p14:sldId id="1415"/>
            <p14:sldId id="1414"/>
            <p14:sldId id="1687"/>
            <p14:sldId id="1720"/>
            <p14:sldId id="4555"/>
            <p14:sldId id="1704"/>
            <p14:sldId id="1492"/>
            <p14:sldId id="1705"/>
            <p14:sldId id="1491"/>
            <p14:sldId id="1664"/>
            <p14:sldId id="1493"/>
            <p14:sldId id="1494"/>
            <p14:sldId id="1496"/>
            <p14:sldId id="1663"/>
            <p14:sldId id="1497"/>
          </p14:sldIdLst>
        </p14:section>
        <p14:section name="Web Application Firewall" id="{728D4FC0-29AD-461B-A32E-266DE0B2601F}">
          <p14:sldIdLst/>
        </p14:section>
        <p14:section name="Conclusion" id="{9FCD5F9A-1140-4BA9-AE0B-34BED33CCAF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wait Joshi (AJ)" initials="AJ(" lastIdx="19" clrIdx="0">
    <p:extLst>
      <p:ext uri="{19B8F6BF-5375-455C-9EA6-DF929625EA0E}">
        <p15:presenceInfo xmlns:p15="http://schemas.microsoft.com/office/powerpoint/2012/main" userId="S-1-5-21-2127521184-1604012920-1887927527-54608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112A"/>
    <a:srgbClr val="004BBB"/>
    <a:srgbClr val="0078D7"/>
    <a:srgbClr val="00BCF2"/>
    <a:srgbClr val="FFB900"/>
    <a:srgbClr val="C86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4E3DEC-6E0C-4945-952A-FFA48F412846}" v="2" dt="2021-03-31T10:43:39.6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3" autoAdjust="0"/>
    <p:restoredTop sz="96357" autoAdjust="0"/>
  </p:normalViewPr>
  <p:slideViewPr>
    <p:cSldViewPr snapToGrid="0">
      <p:cViewPr varScale="1">
        <p:scale>
          <a:sx n="112" d="100"/>
          <a:sy n="112" d="100"/>
        </p:scale>
        <p:origin x="78"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nd Prabhu" userId="6c4c423f-d1f2-47b1-99e3-069c840331b4" providerId="ADAL" clId="{1DA7EDA1-0E59-4DF3-AACB-97850A9B83A1}"/>
    <pc:docChg chg="undo custSel addSld delSld modSld sldOrd delSection modSection">
      <pc:chgData name="Anand Prabhu" userId="6c4c423f-d1f2-47b1-99e3-069c840331b4" providerId="ADAL" clId="{1DA7EDA1-0E59-4DF3-AACB-97850A9B83A1}" dt="2020-05-13T09:08:03.255" v="1734" actId="1038"/>
      <pc:docMkLst>
        <pc:docMk/>
      </pc:docMkLst>
      <pc:sldChg chg="add ord">
        <pc:chgData name="Anand Prabhu" userId="6c4c423f-d1f2-47b1-99e3-069c840331b4" providerId="ADAL" clId="{1DA7EDA1-0E59-4DF3-AACB-97850A9B83A1}" dt="2020-05-13T08:56:31.852" v="1362"/>
        <pc:sldMkLst>
          <pc:docMk/>
          <pc:sldMk cId="1303359920" sldId="257"/>
        </pc:sldMkLst>
      </pc:sldChg>
      <pc:sldChg chg="add del modTransition">
        <pc:chgData name="Anand Prabhu" userId="6c4c423f-d1f2-47b1-99e3-069c840331b4" providerId="ADAL" clId="{1DA7EDA1-0E59-4DF3-AACB-97850A9B83A1}" dt="2020-05-13T08:39:41.030" v="1053" actId="2696"/>
        <pc:sldMkLst>
          <pc:docMk/>
          <pc:sldMk cId="2164473218" sldId="257"/>
        </pc:sldMkLst>
      </pc:sldChg>
      <pc:sldChg chg="add del">
        <pc:chgData name="Anand Prabhu" userId="6c4c423f-d1f2-47b1-99e3-069c840331b4" providerId="ADAL" clId="{1DA7EDA1-0E59-4DF3-AACB-97850A9B83A1}" dt="2020-05-13T07:42:26.223" v="924" actId="2696"/>
        <pc:sldMkLst>
          <pc:docMk/>
          <pc:sldMk cId="785281587" sldId="258"/>
        </pc:sldMkLst>
      </pc:sldChg>
      <pc:sldChg chg="addSp delSp modSp">
        <pc:chgData name="Anand Prabhu" userId="6c4c423f-d1f2-47b1-99e3-069c840331b4" providerId="ADAL" clId="{1DA7EDA1-0E59-4DF3-AACB-97850A9B83A1}" dt="2020-05-13T07:07:06.562" v="24" actId="20577"/>
        <pc:sldMkLst>
          <pc:docMk/>
          <pc:sldMk cId="446683251" sldId="259"/>
        </pc:sldMkLst>
        <pc:spChg chg="add mod">
          <ac:chgData name="Anand Prabhu" userId="6c4c423f-d1f2-47b1-99e3-069c840331b4" providerId="ADAL" clId="{1DA7EDA1-0E59-4DF3-AACB-97850A9B83A1}" dt="2020-05-13T07:06:42.123" v="2"/>
          <ac:spMkLst>
            <pc:docMk/>
            <pc:sldMk cId="446683251" sldId="259"/>
            <ac:spMk id="2" creationId="{DFBC9BFF-2EC0-4CA5-9355-23613EDB41C9}"/>
          </ac:spMkLst>
        </pc:spChg>
        <pc:spChg chg="del">
          <ac:chgData name="Anand Prabhu" userId="6c4c423f-d1f2-47b1-99e3-069c840331b4" providerId="ADAL" clId="{1DA7EDA1-0E59-4DF3-AACB-97850A9B83A1}" dt="2020-05-13T07:06:58.570" v="3" actId="478"/>
          <ac:spMkLst>
            <pc:docMk/>
            <pc:sldMk cId="446683251" sldId="259"/>
            <ac:spMk id="4" creationId="{00000000-0000-0000-0000-000000000000}"/>
          </ac:spMkLst>
        </pc:spChg>
        <pc:spChg chg="add mod">
          <ac:chgData name="Anand Prabhu" userId="6c4c423f-d1f2-47b1-99e3-069c840331b4" providerId="ADAL" clId="{1DA7EDA1-0E59-4DF3-AACB-97850A9B83A1}" dt="2020-05-13T07:07:06.562" v="24" actId="20577"/>
          <ac:spMkLst>
            <pc:docMk/>
            <pc:sldMk cId="446683251" sldId="259"/>
            <ac:spMk id="5" creationId="{32332543-4EE4-47E1-8060-B64CC0D02655}"/>
          </ac:spMkLst>
        </pc:spChg>
      </pc:sldChg>
      <pc:sldChg chg="add del">
        <pc:chgData name="Anand Prabhu" userId="6c4c423f-d1f2-47b1-99e3-069c840331b4" providerId="ADAL" clId="{1DA7EDA1-0E59-4DF3-AACB-97850A9B83A1}" dt="2020-05-13T07:42:26.239" v="925" actId="2696"/>
        <pc:sldMkLst>
          <pc:docMk/>
          <pc:sldMk cId="3001553656" sldId="262"/>
        </pc:sldMkLst>
      </pc:sldChg>
      <pc:sldChg chg="addSp delSp modSp add del modTransition">
        <pc:chgData name="Anand Prabhu" userId="6c4c423f-d1f2-47b1-99e3-069c840331b4" providerId="ADAL" clId="{1DA7EDA1-0E59-4DF3-AACB-97850A9B83A1}" dt="2020-05-13T07:35:26.145" v="914" actId="2696"/>
        <pc:sldMkLst>
          <pc:docMk/>
          <pc:sldMk cId="149947066" sldId="274"/>
        </pc:sldMkLst>
        <pc:spChg chg="del">
          <ac:chgData name="Anand Prabhu" userId="6c4c423f-d1f2-47b1-99e3-069c840331b4" providerId="ADAL" clId="{1DA7EDA1-0E59-4DF3-AACB-97850A9B83A1}" dt="2020-05-13T07:13:07.510" v="57" actId="478"/>
          <ac:spMkLst>
            <pc:docMk/>
            <pc:sldMk cId="149947066" sldId="274"/>
            <ac:spMk id="2" creationId="{00000000-0000-0000-0000-000000000000}"/>
          </ac:spMkLst>
        </pc:spChg>
        <pc:spChg chg="add mod">
          <ac:chgData name="Anand Prabhu" userId="6c4c423f-d1f2-47b1-99e3-069c840331b4" providerId="ADAL" clId="{1DA7EDA1-0E59-4DF3-AACB-97850A9B83A1}" dt="2020-05-13T07:13:15.495" v="72" actId="20577"/>
          <ac:spMkLst>
            <pc:docMk/>
            <pc:sldMk cId="149947066" sldId="274"/>
            <ac:spMk id="3" creationId="{0D5EE5C3-399D-45F6-AB56-31477930D32F}"/>
          </ac:spMkLst>
        </pc:spChg>
        <pc:spChg chg="add mod">
          <ac:chgData name="Anand Prabhu" userId="6c4c423f-d1f2-47b1-99e3-069c840331b4" providerId="ADAL" clId="{1DA7EDA1-0E59-4DF3-AACB-97850A9B83A1}" dt="2020-05-13T07:12:58.492" v="56"/>
          <ac:spMkLst>
            <pc:docMk/>
            <pc:sldMk cId="149947066" sldId="274"/>
            <ac:spMk id="4" creationId="{D4C00C9F-6F07-40E2-9DCA-9B0782FAF2CC}"/>
          </ac:spMkLst>
        </pc:spChg>
      </pc:sldChg>
      <pc:sldChg chg="ord">
        <pc:chgData name="Anand Prabhu" userId="6c4c423f-d1f2-47b1-99e3-069c840331b4" providerId="ADAL" clId="{1DA7EDA1-0E59-4DF3-AACB-97850A9B83A1}" dt="2020-05-13T08:47:31.576" v="1197"/>
        <pc:sldMkLst>
          <pc:docMk/>
          <pc:sldMk cId="2099232856" sldId="296"/>
        </pc:sldMkLst>
      </pc:sldChg>
      <pc:sldChg chg="add del">
        <pc:chgData name="Anand Prabhu" userId="6c4c423f-d1f2-47b1-99e3-069c840331b4" providerId="ADAL" clId="{1DA7EDA1-0E59-4DF3-AACB-97850A9B83A1}" dt="2020-05-13T07:42:26.239" v="926" actId="2696"/>
        <pc:sldMkLst>
          <pc:docMk/>
          <pc:sldMk cId="2247389653" sldId="668"/>
        </pc:sldMkLst>
      </pc:sldChg>
      <pc:sldChg chg="add">
        <pc:chgData name="Anand Prabhu" userId="6c4c423f-d1f2-47b1-99e3-069c840331b4" providerId="ADAL" clId="{1DA7EDA1-0E59-4DF3-AACB-97850A9B83A1}" dt="2020-05-13T07:40:40.182" v="923"/>
        <pc:sldMkLst>
          <pc:docMk/>
          <pc:sldMk cId="3604932912" sldId="670"/>
        </pc:sldMkLst>
      </pc:sldChg>
      <pc:sldChg chg="add del">
        <pc:chgData name="Anand Prabhu" userId="6c4c423f-d1f2-47b1-99e3-069c840331b4" providerId="ADAL" clId="{1DA7EDA1-0E59-4DF3-AACB-97850A9B83A1}" dt="2020-05-13T07:39:54.622" v="922" actId="2696"/>
        <pc:sldMkLst>
          <pc:docMk/>
          <pc:sldMk cId="3679718621" sldId="670"/>
        </pc:sldMkLst>
      </pc:sldChg>
      <pc:sldChg chg="ord">
        <pc:chgData name="Anand Prabhu" userId="6c4c423f-d1f2-47b1-99e3-069c840331b4" providerId="ADAL" clId="{1DA7EDA1-0E59-4DF3-AACB-97850A9B83A1}" dt="2020-05-13T08:47:34.932" v="1198"/>
        <pc:sldMkLst>
          <pc:docMk/>
          <pc:sldMk cId="4045199007" sldId="679"/>
        </pc:sldMkLst>
      </pc:sldChg>
      <pc:sldChg chg="ord">
        <pc:chgData name="Anand Prabhu" userId="6c4c423f-d1f2-47b1-99e3-069c840331b4" providerId="ADAL" clId="{1DA7EDA1-0E59-4DF3-AACB-97850A9B83A1}" dt="2020-05-13T08:45:33.457" v="1168"/>
        <pc:sldMkLst>
          <pc:docMk/>
          <pc:sldMk cId="2154481219" sldId="702"/>
        </pc:sldMkLst>
      </pc:sldChg>
      <pc:sldChg chg="ord">
        <pc:chgData name="Anand Prabhu" userId="6c4c423f-d1f2-47b1-99e3-069c840331b4" providerId="ADAL" clId="{1DA7EDA1-0E59-4DF3-AACB-97850A9B83A1}" dt="2020-05-13T08:47:19.760" v="1194"/>
        <pc:sldMkLst>
          <pc:docMk/>
          <pc:sldMk cId="3438081181" sldId="728"/>
        </pc:sldMkLst>
      </pc:sldChg>
      <pc:sldChg chg="del">
        <pc:chgData name="Anand Prabhu" userId="6c4c423f-d1f2-47b1-99e3-069c840331b4" providerId="ADAL" clId="{1DA7EDA1-0E59-4DF3-AACB-97850A9B83A1}" dt="2020-05-13T07:52:17.665" v="989" actId="2696"/>
        <pc:sldMkLst>
          <pc:docMk/>
          <pc:sldMk cId="1091943013" sldId="732"/>
        </pc:sldMkLst>
      </pc:sldChg>
      <pc:sldChg chg="ord">
        <pc:chgData name="Anand Prabhu" userId="6c4c423f-d1f2-47b1-99e3-069c840331b4" providerId="ADAL" clId="{1DA7EDA1-0E59-4DF3-AACB-97850A9B83A1}" dt="2020-05-13T08:45:42.796" v="1170"/>
        <pc:sldMkLst>
          <pc:docMk/>
          <pc:sldMk cId="3561417366" sldId="736"/>
        </pc:sldMkLst>
      </pc:sldChg>
      <pc:sldChg chg="ord">
        <pc:chgData name="Anand Prabhu" userId="6c4c423f-d1f2-47b1-99e3-069c840331b4" providerId="ADAL" clId="{1DA7EDA1-0E59-4DF3-AACB-97850A9B83A1}" dt="2020-05-13T08:45:39.350" v="1169"/>
        <pc:sldMkLst>
          <pc:docMk/>
          <pc:sldMk cId="982234604" sldId="737"/>
        </pc:sldMkLst>
      </pc:sldChg>
      <pc:sldChg chg="ord">
        <pc:chgData name="Anand Prabhu" userId="6c4c423f-d1f2-47b1-99e3-069c840331b4" providerId="ADAL" clId="{1DA7EDA1-0E59-4DF3-AACB-97850A9B83A1}" dt="2020-05-13T08:47:22.092" v="1195"/>
        <pc:sldMkLst>
          <pc:docMk/>
          <pc:sldMk cId="1567553940" sldId="739"/>
        </pc:sldMkLst>
      </pc:sldChg>
      <pc:sldChg chg="ord">
        <pc:chgData name="Anand Prabhu" userId="6c4c423f-d1f2-47b1-99e3-069c840331b4" providerId="ADAL" clId="{1DA7EDA1-0E59-4DF3-AACB-97850A9B83A1}" dt="2020-05-13T08:48:15.475" v="1199"/>
        <pc:sldMkLst>
          <pc:docMk/>
          <pc:sldMk cId="1591357489" sldId="744"/>
        </pc:sldMkLst>
      </pc:sldChg>
      <pc:sldChg chg="ord">
        <pc:chgData name="Anand Prabhu" userId="6c4c423f-d1f2-47b1-99e3-069c840331b4" providerId="ADAL" clId="{1DA7EDA1-0E59-4DF3-AACB-97850A9B83A1}" dt="2020-05-13T08:47:24.181" v="1196"/>
        <pc:sldMkLst>
          <pc:docMk/>
          <pc:sldMk cId="1259475928" sldId="746"/>
        </pc:sldMkLst>
      </pc:sldChg>
      <pc:sldChg chg="ord">
        <pc:chgData name="Anand Prabhu" userId="6c4c423f-d1f2-47b1-99e3-069c840331b4" providerId="ADAL" clId="{1DA7EDA1-0E59-4DF3-AACB-97850A9B83A1}" dt="2020-05-13T08:48:15.475" v="1199"/>
        <pc:sldMkLst>
          <pc:docMk/>
          <pc:sldMk cId="325675679" sldId="748"/>
        </pc:sldMkLst>
      </pc:sldChg>
      <pc:sldChg chg="ord">
        <pc:chgData name="Anand Prabhu" userId="6c4c423f-d1f2-47b1-99e3-069c840331b4" providerId="ADAL" clId="{1DA7EDA1-0E59-4DF3-AACB-97850A9B83A1}" dt="2020-05-13T08:48:15.475" v="1199"/>
        <pc:sldMkLst>
          <pc:docMk/>
          <pc:sldMk cId="278505841" sldId="749"/>
        </pc:sldMkLst>
      </pc:sldChg>
      <pc:sldChg chg="del">
        <pc:chgData name="Anand Prabhu" userId="6c4c423f-d1f2-47b1-99e3-069c840331b4" providerId="ADAL" clId="{1DA7EDA1-0E59-4DF3-AACB-97850A9B83A1}" dt="2020-05-13T07:52:14.704" v="988" actId="2696"/>
        <pc:sldMkLst>
          <pc:docMk/>
          <pc:sldMk cId="302464287" sldId="777"/>
        </pc:sldMkLst>
      </pc:sldChg>
      <pc:sldChg chg="addSp delSp modSp add del">
        <pc:chgData name="Anand Prabhu" userId="6c4c423f-d1f2-47b1-99e3-069c840331b4" providerId="ADAL" clId="{1DA7EDA1-0E59-4DF3-AACB-97850A9B83A1}" dt="2020-05-13T07:51:20.188" v="983"/>
        <pc:sldMkLst>
          <pc:docMk/>
          <pc:sldMk cId="367864264" sldId="778"/>
        </pc:sldMkLst>
        <pc:spChg chg="add del mod">
          <ac:chgData name="Anand Prabhu" userId="6c4c423f-d1f2-47b1-99e3-069c840331b4" providerId="ADAL" clId="{1DA7EDA1-0E59-4DF3-AACB-97850A9B83A1}" dt="2020-05-13T07:51:19.599" v="982"/>
          <ac:spMkLst>
            <pc:docMk/>
            <pc:sldMk cId="367864264" sldId="778"/>
            <ac:spMk id="7" creationId="{DCD9E442-1242-4FA0-BB6D-B8FBA99348D9}"/>
          </ac:spMkLst>
        </pc:spChg>
        <pc:spChg chg="add del mod">
          <ac:chgData name="Anand Prabhu" userId="6c4c423f-d1f2-47b1-99e3-069c840331b4" providerId="ADAL" clId="{1DA7EDA1-0E59-4DF3-AACB-97850A9B83A1}" dt="2020-05-13T07:51:19.599" v="982"/>
          <ac:spMkLst>
            <pc:docMk/>
            <pc:sldMk cId="367864264" sldId="778"/>
            <ac:spMk id="8" creationId="{145B3AF2-3DCF-41B1-B1F8-895A2C4A4C0E}"/>
          </ac:spMkLst>
        </pc:spChg>
      </pc:sldChg>
      <pc:sldChg chg="add del ord">
        <pc:chgData name="Anand Prabhu" userId="6c4c423f-d1f2-47b1-99e3-069c840331b4" providerId="ADAL" clId="{1DA7EDA1-0E59-4DF3-AACB-97850A9B83A1}" dt="2020-05-13T07:51:43.103" v="985" actId="2696"/>
        <pc:sldMkLst>
          <pc:docMk/>
          <pc:sldMk cId="3201623893" sldId="778"/>
        </pc:sldMkLst>
      </pc:sldChg>
      <pc:sldChg chg="del">
        <pc:chgData name="Anand Prabhu" userId="6c4c423f-d1f2-47b1-99e3-069c840331b4" providerId="ADAL" clId="{1DA7EDA1-0E59-4DF3-AACB-97850A9B83A1}" dt="2020-05-13T07:52:04.539" v="987" actId="2696"/>
        <pc:sldMkLst>
          <pc:docMk/>
          <pc:sldMk cId="2166777094" sldId="779"/>
        </pc:sldMkLst>
      </pc:sldChg>
      <pc:sldChg chg="del">
        <pc:chgData name="Anand Prabhu" userId="6c4c423f-d1f2-47b1-99e3-069c840331b4" providerId="ADAL" clId="{1DA7EDA1-0E59-4DF3-AACB-97850A9B83A1}" dt="2020-05-13T07:52:20.077" v="990" actId="2696"/>
        <pc:sldMkLst>
          <pc:docMk/>
          <pc:sldMk cId="3323346506" sldId="780"/>
        </pc:sldMkLst>
      </pc:sldChg>
      <pc:sldChg chg="add del">
        <pc:chgData name="Anand Prabhu" userId="6c4c423f-d1f2-47b1-99e3-069c840331b4" providerId="ADAL" clId="{1DA7EDA1-0E59-4DF3-AACB-97850A9B83A1}" dt="2020-05-13T07:52:36.201" v="993" actId="2696"/>
        <pc:sldMkLst>
          <pc:docMk/>
          <pc:sldMk cId="465129241" sldId="781"/>
        </pc:sldMkLst>
      </pc:sldChg>
      <pc:sldChg chg="del">
        <pc:chgData name="Anand Prabhu" userId="6c4c423f-d1f2-47b1-99e3-069c840331b4" providerId="ADAL" clId="{1DA7EDA1-0E59-4DF3-AACB-97850A9B83A1}" dt="2020-05-13T07:52:38.737" v="994" actId="2696"/>
        <pc:sldMkLst>
          <pc:docMk/>
          <pc:sldMk cId="1394282831" sldId="782"/>
        </pc:sldMkLst>
      </pc:sldChg>
      <pc:sldChg chg="del">
        <pc:chgData name="Anand Prabhu" userId="6c4c423f-d1f2-47b1-99e3-069c840331b4" providerId="ADAL" clId="{1DA7EDA1-0E59-4DF3-AACB-97850A9B83A1}" dt="2020-05-13T07:52:54.272" v="995" actId="2696"/>
        <pc:sldMkLst>
          <pc:docMk/>
          <pc:sldMk cId="2901642100" sldId="784"/>
        </pc:sldMkLst>
      </pc:sldChg>
      <pc:sldChg chg="addSp modSp">
        <pc:chgData name="Anand Prabhu" userId="6c4c423f-d1f2-47b1-99e3-069c840331b4" providerId="ADAL" clId="{1DA7EDA1-0E59-4DF3-AACB-97850A9B83A1}" dt="2020-05-13T08:20:41.191" v="1043"/>
        <pc:sldMkLst>
          <pc:docMk/>
          <pc:sldMk cId="246492512" sldId="788"/>
        </pc:sldMkLst>
        <pc:spChg chg="add mod">
          <ac:chgData name="Anand Prabhu" userId="6c4c423f-d1f2-47b1-99e3-069c840331b4" providerId="ADAL" clId="{1DA7EDA1-0E59-4DF3-AACB-97850A9B83A1}" dt="2020-05-13T08:20:41.191" v="1043"/>
          <ac:spMkLst>
            <pc:docMk/>
            <pc:sldMk cId="246492512" sldId="788"/>
            <ac:spMk id="3" creationId="{4990528B-F760-4369-B637-3893C4A96F73}"/>
          </ac:spMkLst>
        </pc:spChg>
      </pc:sldChg>
      <pc:sldChg chg="modSp add ord">
        <pc:chgData name="Anand Prabhu" userId="6c4c423f-d1f2-47b1-99e3-069c840331b4" providerId="ADAL" clId="{1DA7EDA1-0E59-4DF3-AACB-97850A9B83A1}" dt="2020-05-13T08:40:43.329" v="1096"/>
        <pc:sldMkLst>
          <pc:docMk/>
          <pc:sldMk cId="725283395" sldId="1413"/>
        </pc:sldMkLst>
        <pc:spChg chg="mod">
          <ac:chgData name="Anand Prabhu" userId="6c4c423f-d1f2-47b1-99e3-069c840331b4" providerId="ADAL" clId="{1DA7EDA1-0E59-4DF3-AACB-97850A9B83A1}" dt="2020-05-13T07:56:58.904" v="1000" actId="20577"/>
          <ac:spMkLst>
            <pc:docMk/>
            <pc:sldMk cId="725283395" sldId="1413"/>
            <ac:spMk id="2" creationId="{00000000-0000-0000-0000-000000000000}"/>
          </ac:spMkLst>
        </pc:spChg>
      </pc:sldChg>
      <pc:sldChg chg="del">
        <pc:chgData name="Anand Prabhu" userId="6c4c423f-d1f2-47b1-99e3-069c840331b4" providerId="ADAL" clId="{1DA7EDA1-0E59-4DF3-AACB-97850A9B83A1}" dt="2020-05-13T07:08:06.462" v="26" actId="2696"/>
        <pc:sldMkLst>
          <pc:docMk/>
          <pc:sldMk cId="769135596" sldId="1413"/>
        </pc:sldMkLst>
      </pc:sldChg>
      <pc:sldChg chg="ord">
        <pc:chgData name="Anand Prabhu" userId="6c4c423f-d1f2-47b1-99e3-069c840331b4" providerId="ADAL" clId="{1DA7EDA1-0E59-4DF3-AACB-97850A9B83A1}" dt="2020-05-13T09:03:55.400" v="1514"/>
        <pc:sldMkLst>
          <pc:docMk/>
          <pc:sldMk cId="2143251001" sldId="1414"/>
        </pc:sldMkLst>
      </pc:sldChg>
      <pc:sldChg chg="delSp add del">
        <pc:chgData name="Anand Prabhu" userId="6c4c423f-d1f2-47b1-99e3-069c840331b4" providerId="ADAL" clId="{1DA7EDA1-0E59-4DF3-AACB-97850A9B83A1}" dt="2020-05-13T07:38:11.328" v="921" actId="2696"/>
        <pc:sldMkLst>
          <pc:docMk/>
          <pc:sldMk cId="1885675031" sldId="1494"/>
        </pc:sldMkLst>
        <pc:spChg chg="del">
          <ac:chgData name="Anand Prabhu" userId="6c4c423f-d1f2-47b1-99e3-069c840331b4" providerId="ADAL" clId="{1DA7EDA1-0E59-4DF3-AACB-97850A9B83A1}" dt="2020-05-13T07:36:20.336" v="915" actId="478"/>
          <ac:spMkLst>
            <pc:docMk/>
            <pc:sldMk cId="1885675031" sldId="1494"/>
            <ac:spMk id="4" creationId="{00000000-0000-0000-0000-000000000000}"/>
          </ac:spMkLst>
        </pc:spChg>
      </pc:sldChg>
      <pc:sldChg chg="add del">
        <pc:chgData name="Anand Prabhu" userId="6c4c423f-d1f2-47b1-99e3-069c840331b4" providerId="ADAL" clId="{1DA7EDA1-0E59-4DF3-AACB-97850A9B83A1}" dt="2020-05-13T07:38:11.328" v="920" actId="2696"/>
        <pc:sldMkLst>
          <pc:docMk/>
          <pc:sldMk cId="484820856" sldId="1496"/>
        </pc:sldMkLst>
      </pc:sldChg>
      <pc:sldChg chg="modSp">
        <pc:chgData name="Anand Prabhu" userId="6c4c423f-d1f2-47b1-99e3-069c840331b4" providerId="ADAL" clId="{1DA7EDA1-0E59-4DF3-AACB-97850A9B83A1}" dt="2020-05-13T07:37:37.127" v="919" actId="207"/>
        <pc:sldMkLst>
          <pc:docMk/>
          <pc:sldMk cId="1446393910" sldId="1497"/>
        </pc:sldMkLst>
        <pc:spChg chg="mod">
          <ac:chgData name="Anand Prabhu" userId="6c4c423f-d1f2-47b1-99e3-069c840331b4" providerId="ADAL" clId="{1DA7EDA1-0E59-4DF3-AACB-97850A9B83A1}" dt="2020-05-13T07:37:37.127" v="919" actId="207"/>
          <ac:spMkLst>
            <pc:docMk/>
            <pc:sldMk cId="1446393910" sldId="1497"/>
            <ac:spMk id="12" creationId="{00000000-0000-0000-0000-000000000000}"/>
          </ac:spMkLst>
        </pc:spChg>
      </pc:sldChg>
      <pc:sldChg chg="modSp">
        <pc:chgData name="Anand Prabhu" userId="6c4c423f-d1f2-47b1-99e3-069c840331b4" providerId="ADAL" clId="{1DA7EDA1-0E59-4DF3-AACB-97850A9B83A1}" dt="2020-05-13T08:53:20.006" v="1296" actId="207"/>
        <pc:sldMkLst>
          <pc:docMk/>
          <pc:sldMk cId="1541843553" sldId="1499"/>
        </pc:sldMkLst>
        <pc:spChg chg="mod">
          <ac:chgData name="Anand Prabhu" userId="6c4c423f-d1f2-47b1-99e3-069c840331b4" providerId="ADAL" clId="{1DA7EDA1-0E59-4DF3-AACB-97850A9B83A1}" dt="2020-05-13T08:53:20.006" v="1296" actId="207"/>
          <ac:spMkLst>
            <pc:docMk/>
            <pc:sldMk cId="1541843553" sldId="1499"/>
            <ac:spMk id="12" creationId="{00000000-0000-0000-0000-000000000000}"/>
          </ac:spMkLst>
        </pc:spChg>
      </pc:sldChg>
      <pc:sldChg chg="add">
        <pc:chgData name="Anand Prabhu" userId="6c4c423f-d1f2-47b1-99e3-069c840331b4" providerId="ADAL" clId="{1DA7EDA1-0E59-4DF3-AACB-97850A9B83A1}" dt="2020-05-13T08:58:37.981" v="1372"/>
        <pc:sldMkLst>
          <pc:docMk/>
          <pc:sldMk cId="536167537" sldId="1503"/>
        </pc:sldMkLst>
      </pc:sldChg>
      <pc:sldChg chg="add del">
        <pc:chgData name="Anand Prabhu" userId="6c4c423f-d1f2-47b1-99e3-069c840331b4" providerId="ADAL" clId="{1DA7EDA1-0E59-4DF3-AACB-97850A9B83A1}" dt="2020-05-13T08:57:48.705" v="1371" actId="2696"/>
        <pc:sldMkLst>
          <pc:docMk/>
          <pc:sldMk cId="785151751" sldId="1503"/>
        </pc:sldMkLst>
      </pc:sldChg>
      <pc:sldChg chg="add del ord">
        <pc:chgData name="Anand Prabhu" userId="6c4c423f-d1f2-47b1-99e3-069c840331b4" providerId="ADAL" clId="{1DA7EDA1-0E59-4DF3-AACB-97850A9B83A1}" dt="2020-05-13T08:57:24.284" v="1369" actId="2696"/>
        <pc:sldMkLst>
          <pc:docMk/>
          <pc:sldMk cId="1640564710" sldId="1503"/>
        </pc:sldMkLst>
      </pc:sldChg>
      <pc:sldChg chg="del">
        <pc:chgData name="Anand Prabhu" userId="6c4c423f-d1f2-47b1-99e3-069c840331b4" providerId="ADAL" clId="{1DA7EDA1-0E59-4DF3-AACB-97850A9B83A1}" dt="2020-05-13T08:53:11.314" v="1295" actId="2696"/>
        <pc:sldMkLst>
          <pc:docMk/>
          <pc:sldMk cId="1691825858" sldId="1666"/>
        </pc:sldMkLst>
      </pc:sldChg>
      <pc:sldChg chg="del">
        <pc:chgData name="Anand Prabhu" userId="6c4c423f-d1f2-47b1-99e3-069c840331b4" providerId="ADAL" clId="{1DA7EDA1-0E59-4DF3-AACB-97850A9B83A1}" dt="2020-05-13T08:53:58.950" v="1333" actId="2696"/>
        <pc:sldMkLst>
          <pc:docMk/>
          <pc:sldMk cId="3462005526" sldId="1675"/>
        </pc:sldMkLst>
      </pc:sldChg>
      <pc:sldChg chg="addSp delSp">
        <pc:chgData name="Anand Prabhu" userId="6c4c423f-d1f2-47b1-99e3-069c840331b4" providerId="ADAL" clId="{1DA7EDA1-0E59-4DF3-AACB-97850A9B83A1}" dt="2020-05-13T08:54:12.113" v="1336"/>
        <pc:sldMkLst>
          <pc:docMk/>
          <pc:sldMk cId="278392685" sldId="1684"/>
        </pc:sldMkLst>
        <pc:spChg chg="add del">
          <ac:chgData name="Anand Prabhu" userId="6c4c423f-d1f2-47b1-99e3-069c840331b4" providerId="ADAL" clId="{1DA7EDA1-0E59-4DF3-AACB-97850A9B83A1}" dt="2020-05-13T08:54:12.113" v="1336"/>
          <ac:spMkLst>
            <pc:docMk/>
            <pc:sldMk cId="278392685" sldId="1684"/>
            <ac:spMk id="3" creationId="{962D4936-EFC0-4B9A-9EC6-B97B0668313A}"/>
          </ac:spMkLst>
        </pc:spChg>
      </pc:sldChg>
      <pc:sldChg chg="del">
        <pc:chgData name="Anand Prabhu" userId="6c4c423f-d1f2-47b1-99e3-069c840331b4" providerId="ADAL" clId="{1DA7EDA1-0E59-4DF3-AACB-97850A9B83A1}" dt="2020-05-13T07:49:34.710" v="951" actId="2696"/>
        <pc:sldMkLst>
          <pc:docMk/>
          <pc:sldMk cId="641702813" sldId="1698"/>
        </pc:sldMkLst>
      </pc:sldChg>
      <pc:sldChg chg="add del">
        <pc:chgData name="Anand Prabhu" userId="6c4c423f-d1f2-47b1-99e3-069c840331b4" providerId="ADAL" clId="{1DA7EDA1-0E59-4DF3-AACB-97850A9B83A1}" dt="2020-05-13T08:57:17.860" v="1367" actId="2696"/>
        <pc:sldMkLst>
          <pc:docMk/>
          <pc:sldMk cId="3846560943" sldId="1715"/>
        </pc:sldMkLst>
      </pc:sldChg>
      <pc:sldChg chg="del">
        <pc:chgData name="Anand Prabhu" userId="6c4c423f-d1f2-47b1-99e3-069c840331b4" providerId="ADAL" clId="{1DA7EDA1-0E59-4DF3-AACB-97850A9B83A1}" dt="2020-05-13T08:55:26.816" v="1355" actId="2696"/>
        <pc:sldMkLst>
          <pc:docMk/>
          <pc:sldMk cId="2842606431" sldId="1720"/>
        </pc:sldMkLst>
      </pc:sldChg>
      <pc:sldChg chg="add">
        <pc:chgData name="Anand Prabhu" userId="6c4c423f-d1f2-47b1-99e3-069c840331b4" providerId="ADAL" clId="{1DA7EDA1-0E59-4DF3-AACB-97850A9B83A1}" dt="2020-05-13T08:55:42.914" v="1356"/>
        <pc:sldMkLst>
          <pc:docMk/>
          <pc:sldMk cId="3504930069" sldId="1720"/>
        </pc:sldMkLst>
      </pc:sldChg>
      <pc:sldChg chg="del">
        <pc:chgData name="Anand Prabhu" userId="6c4c423f-d1f2-47b1-99e3-069c840331b4" providerId="ADAL" clId="{1DA7EDA1-0E59-4DF3-AACB-97850A9B83A1}" dt="2020-05-13T07:52:02.951" v="986" actId="2696"/>
        <pc:sldMkLst>
          <pc:docMk/>
          <pc:sldMk cId="3193827469" sldId="1721"/>
        </pc:sldMkLst>
      </pc:sldChg>
      <pc:sldChg chg="addSp modSp ord modTransition">
        <pc:chgData name="Anand Prabhu" userId="6c4c423f-d1f2-47b1-99e3-069c840331b4" providerId="ADAL" clId="{1DA7EDA1-0E59-4DF3-AACB-97850A9B83A1}" dt="2020-05-13T07:35:12.158" v="912"/>
        <pc:sldMkLst>
          <pc:docMk/>
          <pc:sldMk cId="937551889" sldId="1723"/>
        </pc:sldMkLst>
        <pc:spChg chg="add mod">
          <ac:chgData name="Anand Prabhu" userId="6c4c423f-d1f2-47b1-99e3-069c840331b4" providerId="ADAL" clId="{1DA7EDA1-0E59-4DF3-AACB-97850A9B83A1}" dt="2020-05-13T07:35:12.158" v="912"/>
          <ac:spMkLst>
            <pc:docMk/>
            <pc:sldMk cId="937551889" sldId="1723"/>
            <ac:spMk id="3" creationId="{2F5ACD4F-09B7-4D76-AEAD-0F50A2DA9295}"/>
          </ac:spMkLst>
        </pc:spChg>
      </pc:sldChg>
      <pc:sldChg chg="modSp add del">
        <pc:chgData name="Anand Prabhu" userId="6c4c423f-d1f2-47b1-99e3-069c840331b4" providerId="ADAL" clId="{1DA7EDA1-0E59-4DF3-AACB-97850A9B83A1}" dt="2020-05-13T09:01:54.351" v="1512" actId="20577"/>
        <pc:sldMkLst>
          <pc:docMk/>
          <pc:sldMk cId="293329949" sldId="1724"/>
        </pc:sldMkLst>
        <pc:spChg chg="mod">
          <ac:chgData name="Anand Prabhu" userId="6c4c423f-d1f2-47b1-99e3-069c840331b4" providerId="ADAL" clId="{1DA7EDA1-0E59-4DF3-AACB-97850A9B83A1}" dt="2020-05-13T09:01:54.351" v="1512" actId="20577"/>
          <ac:spMkLst>
            <pc:docMk/>
            <pc:sldMk cId="293329949" sldId="1724"/>
            <ac:spMk id="3" creationId="{56C4B2DF-017A-4C85-A6DF-E3FAF102EAF8}"/>
          </ac:spMkLst>
        </pc:spChg>
      </pc:sldChg>
      <pc:sldChg chg="add del">
        <pc:chgData name="Anand Prabhu" userId="6c4c423f-d1f2-47b1-99e3-069c840331b4" providerId="ADAL" clId="{1DA7EDA1-0E59-4DF3-AACB-97850A9B83A1}" dt="2020-05-13T07:07:09.864" v="25" actId="2696"/>
        <pc:sldMkLst>
          <pc:docMk/>
          <pc:sldMk cId="2504803782" sldId="1725"/>
        </pc:sldMkLst>
      </pc:sldChg>
      <pc:sldChg chg="add del">
        <pc:chgData name="Anand Prabhu" userId="6c4c423f-d1f2-47b1-99e3-069c840331b4" providerId="ADAL" clId="{1DA7EDA1-0E59-4DF3-AACB-97850A9B83A1}" dt="2020-05-13T07:55:58.041" v="998" actId="2696"/>
        <pc:sldMkLst>
          <pc:docMk/>
          <pc:sldMk cId="802348733" sldId="1726"/>
        </pc:sldMkLst>
      </pc:sldChg>
      <pc:sldChg chg="addSp delSp modSp add del delAnim modAnim">
        <pc:chgData name="Anand Prabhu" userId="6c4c423f-d1f2-47b1-99e3-069c840331b4" providerId="ADAL" clId="{1DA7EDA1-0E59-4DF3-AACB-97850A9B83A1}" dt="2020-05-13T07:55:25.202" v="997" actId="2696"/>
        <pc:sldMkLst>
          <pc:docMk/>
          <pc:sldMk cId="3748892550" sldId="1727"/>
        </pc:sldMkLst>
        <pc:spChg chg="mod topLvl">
          <ac:chgData name="Anand Prabhu" userId="6c4c423f-d1f2-47b1-99e3-069c840331b4" providerId="ADAL" clId="{1DA7EDA1-0E59-4DF3-AACB-97850A9B83A1}" dt="2020-05-13T07:26:03.093" v="889" actId="207"/>
          <ac:spMkLst>
            <pc:docMk/>
            <pc:sldMk cId="3748892550" sldId="1727"/>
            <ac:spMk id="3" creationId="{00000000-0000-0000-0000-000000000000}"/>
          </ac:spMkLst>
        </pc:spChg>
        <pc:spChg chg="mod">
          <ac:chgData name="Anand Prabhu" userId="6c4c423f-d1f2-47b1-99e3-069c840331b4" providerId="ADAL" clId="{1DA7EDA1-0E59-4DF3-AACB-97850A9B83A1}" dt="2020-05-13T07:27:04.588" v="906" actId="1036"/>
          <ac:spMkLst>
            <pc:docMk/>
            <pc:sldMk cId="3748892550" sldId="1727"/>
            <ac:spMk id="4"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5"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6"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7"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8" creationId="{00000000-0000-0000-0000-000000000000}"/>
          </ac:spMkLst>
        </pc:spChg>
        <pc:spChg chg="del">
          <ac:chgData name="Anand Prabhu" userId="6c4c423f-d1f2-47b1-99e3-069c840331b4" providerId="ADAL" clId="{1DA7EDA1-0E59-4DF3-AACB-97850A9B83A1}" dt="2020-05-13T07:20:03.117" v="303" actId="478"/>
          <ac:spMkLst>
            <pc:docMk/>
            <pc:sldMk cId="3748892550" sldId="1727"/>
            <ac:spMk id="9" creationId="{00000000-0000-0000-0000-000000000000}"/>
          </ac:spMkLst>
        </pc:spChg>
        <pc:spChg chg="del mod">
          <ac:chgData name="Anand Prabhu" userId="6c4c423f-d1f2-47b1-99e3-069c840331b4" providerId="ADAL" clId="{1DA7EDA1-0E59-4DF3-AACB-97850A9B83A1}" dt="2020-05-13T07:18:46.702" v="104" actId="478"/>
          <ac:spMkLst>
            <pc:docMk/>
            <pc:sldMk cId="3748892550" sldId="1727"/>
            <ac:spMk id="26" creationId="{00000000-0000-0000-0000-000000000000}"/>
          </ac:spMkLst>
        </pc:spChg>
        <pc:spChg chg="del">
          <ac:chgData name="Anand Prabhu" userId="6c4c423f-d1f2-47b1-99e3-069c840331b4" providerId="ADAL" clId="{1DA7EDA1-0E59-4DF3-AACB-97850A9B83A1}" dt="2020-05-13T07:18:50.295" v="105" actId="478"/>
          <ac:spMkLst>
            <pc:docMk/>
            <pc:sldMk cId="3748892550" sldId="1727"/>
            <ac:spMk id="27" creationId="{00000000-0000-0000-0000-000000000000}"/>
          </ac:spMkLst>
        </pc:spChg>
        <pc:spChg chg="del mod">
          <ac:chgData name="Anand Prabhu" userId="6c4c423f-d1f2-47b1-99e3-069c840331b4" providerId="ADAL" clId="{1DA7EDA1-0E59-4DF3-AACB-97850A9B83A1}" dt="2020-05-13T07:18:54.123" v="107" actId="478"/>
          <ac:spMkLst>
            <pc:docMk/>
            <pc:sldMk cId="3748892550" sldId="1727"/>
            <ac:spMk id="28" creationId="{00000000-0000-0000-0000-000000000000}"/>
          </ac:spMkLst>
        </pc:spChg>
        <pc:spChg chg="del">
          <ac:chgData name="Anand Prabhu" userId="6c4c423f-d1f2-47b1-99e3-069c840331b4" providerId="ADAL" clId="{1DA7EDA1-0E59-4DF3-AACB-97850A9B83A1}" dt="2020-05-13T07:18:58.643" v="108" actId="478"/>
          <ac:spMkLst>
            <pc:docMk/>
            <pc:sldMk cId="3748892550" sldId="1727"/>
            <ac:spMk id="29" creationId="{00000000-0000-0000-0000-000000000000}"/>
          </ac:spMkLst>
        </pc:spChg>
        <pc:spChg chg="del">
          <ac:chgData name="Anand Prabhu" userId="6c4c423f-d1f2-47b1-99e3-069c840331b4" providerId="ADAL" clId="{1DA7EDA1-0E59-4DF3-AACB-97850A9B83A1}" dt="2020-05-13T07:18:40.392" v="102" actId="478"/>
          <ac:spMkLst>
            <pc:docMk/>
            <pc:sldMk cId="3748892550" sldId="1727"/>
            <ac:spMk id="32" creationId="{00000000-0000-0000-0000-000000000000}"/>
          </ac:spMkLst>
        </pc:spChg>
        <pc:spChg chg="add mod">
          <ac:chgData name="Anand Prabhu" userId="6c4c423f-d1f2-47b1-99e3-069c840331b4" providerId="ADAL" clId="{1DA7EDA1-0E59-4DF3-AACB-97850A9B83A1}" dt="2020-05-13T07:26:33.620" v="892" actId="207"/>
          <ac:spMkLst>
            <pc:docMk/>
            <pc:sldMk cId="3748892550" sldId="1727"/>
            <ac:spMk id="33" creationId="{7439A10F-92A1-4516-898C-80544F6404AC}"/>
          </ac:spMkLst>
        </pc:spChg>
        <pc:spChg chg="add mod">
          <ac:chgData name="Anand Prabhu" userId="6c4c423f-d1f2-47b1-99e3-069c840331b4" providerId="ADAL" clId="{1DA7EDA1-0E59-4DF3-AACB-97850A9B83A1}" dt="2020-05-13T07:26:58.548" v="895" actId="208"/>
          <ac:spMkLst>
            <pc:docMk/>
            <pc:sldMk cId="3748892550" sldId="1727"/>
            <ac:spMk id="34" creationId="{2B4ABB4A-0D3F-46A9-8597-48A774D18102}"/>
          </ac:spMkLst>
        </pc:spChg>
        <pc:spChg chg="add del mod">
          <ac:chgData name="Anand Prabhu" userId="6c4c423f-d1f2-47b1-99e3-069c840331b4" providerId="ADAL" clId="{1DA7EDA1-0E59-4DF3-AACB-97850A9B83A1}" dt="2020-05-13T07:23:45.949" v="746" actId="478"/>
          <ac:spMkLst>
            <pc:docMk/>
            <pc:sldMk cId="3748892550" sldId="1727"/>
            <ac:spMk id="35" creationId="{1E4D001A-090C-4922-A6E4-47B7EE1B24A7}"/>
          </ac:spMkLst>
        </pc:spChg>
        <pc:spChg chg="add mod">
          <ac:chgData name="Anand Prabhu" userId="6c4c423f-d1f2-47b1-99e3-069c840331b4" providerId="ADAL" clId="{1DA7EDA1-0E59-4DF3-AACB-97850A9B83A1}" dt="2020-05-13T07:25:31.108" v="886" actId="1035"/>
          <ac:spMkLst>
            <pc:docMk/>
            <pc:sldMk cId="3748892550" sldId="1727"/>
            <ac:spMk id="36" creationId="{6ED312C3-008D-4426-B1F1-E1E84952500D}"/>
          </ac:spMkLst>
        </pc:spChg>
        <pc:spChg chg="add del">
          <ac:chgData name="Anand Prabhu" userId="6c4c423f-d1f2-47b1-99e3-069c840331b4" providerId="ADAL" clId="{1DA7EDA1-0E59-4DF3-AACB-97850A9B83A1}" dt="2020-05-13T07:23:50.087" v="748"/>
          <ac:spMkLst>
            <pc:docMk/>
            <pc:sldMk cId="3748892550" sldId="1727"/>
            <ac:spMk id="37" creationId="{7175697E-170C-4104-A8D5-BAF3A0BCBF32}"/>
          </ac:spMkLst>
        </pc:spChg>
        <pc:spChg chg="add del mod">
          <ac:chgData name="Anand Prabhu" userId="6c4c423f-d1f2-47b1-99e3-069c840331b4" providerId="ADAL" clId="{1DA7EDA1-0E59-4DF3-AACB-97850A9B83A1}" dt="2020-05-13T07:24:12.285" v="799" actId="478"/>
          <ac:spMkLst>
            <pc:docMk/>
            <pc:sldMk cId="3748892550" sldId="1727"/>
            <ac:spMk id="38" creationId="{0087064D-71B9-48D8-A6D1-95A3F4FF9E4D}"/>
          </ac:spMkLst>
        </pc:spChg>
        <pc:spChg chg="add mod">
          <ac:chgData name="Anand Prabhu" userId="6c4c423f-d1f2-47b1-99e3-069c840331b4" providerId="ADAL" clId="{1DA7EDA1-0E59-4DF3-AACB-97850A9B83A1}" dt="2020-05-13T07:26:13.529" v="890" actId="207"/>
          <ac:spMkLst>
            <pc:docMk/>
            <pc:sldMk cId="3748892550" sldId="1727"/>
            <ac:spMk id="39" creationId="{20B3BDE7-13B3-467C-9F07-A4B71DA6C3BD}"/>
          </ac:spMkLst>
        </pc:spChg>
        <pc:grpChg chg="del">
          <ac:chgData name="Anand Prabhu" userId="6c4c423f-d1f2-47b1-99e3-069c840331b4" providerId="ADAL" clId="{1DA7EDA1-0E59-4DF3-AACB-97850A9B83A1}" dt="2020-05-13T07:20:23.691" v="306" actId="478"/>
          <ac:grpSpMkLst>
            <pc:docMk/>
            <pc:sldMk cId="3748892550" sldId="1727"/>
            <ac:grpSpMk id="10" creationId="{00000000-0000-0000-0000-000000000000}"/>
          </ac:grpSpMkLst>
        </pc:grpChg>
        <pc:grpChg chg="del">
          <ac:chgData name="Anand Prabhu" userId="6c4c423f-d1f2-47b1-99e3-069c840331b4" providerId="ADAL" clId="{1DA7EDA1-0E59-4DF3-AACB-97850A9B83A1}" dt="2020-05-13T07:20:05.351" v="304" actId="478"/>
          <ac:grpSpMkLst>
            <pc:docMk/>
            <pc:sldMk cId="3748892550" sldId="1727"/>
            <ac:grpSpMk id="14" creationId="{00000000-0000-0000-0000-000000000000}"/>
          </ac:grpSpMkLst>
        </pc:grpChg>
        <pc:grpChg chg="del">
          <ac:chgData name="Anand Prabhu" userId="6c4c423f-d1f2-47b1-99e3-069c840331b4" providerId="ADAL" clId="{1DA7EDA1-0E59-4DF3-AACB-97850A9B83A1}" dt="2020-05-13T07:20:11.409" v="305" actId="478"/>
          <ac:grpSpMkLst>
            <pc:docMk/>
            <pc:sldMk cId="3748892550" sldId="1727"/>
            <ac:grpSpMk id="19" creationId="{00000000-0000-0000-0000-000000000000}"/>
          </ac:grpSpMkLst>
        </pc:grpChg>
        <pc:grpChg chg="del mod">
          <ac:chgData name="Anand Prabhu" userId="6c4c423f-d1f2-47b1-99e3-069c840331b4" providerId="ADAL" clId="{1DA7EDA1-0E59-4DF3-AACB-97850A9B83A1}" dt="2020-05-13T07:20:55.016" v="389" actId="478"/>
          <ac:grpSpMkLst>
            <pc:docMk/>
            <pc:sldMk cId="3748892550" sldId="1727"/>
            <ac:grpSpMk id="31" creationId="{00000000-0000-0000-0000-000000000000}"/>
          </ac:grpSpMkLst>
        </pc:grpChg>
        <pc:picChg chg="del topLvl">
          <ac:chgData name="Anand Prabhu" userId="6c4c423f-d1f2-47b1-99e3-069c840331b4" providerId="ADAL" clId="{1DA7EDA1-0E59-4DF3-AACB-97850A9B83A1}" dt="2020-05-13T07:20:55.016" v="389" actId="478"/>
          <ac:picMkLst>
            <pc:docMk/>
            <pc:sldMk cId="3748892550" sldId="1727"/>
            <ac:picMk id="30" creationId="{00000000-0000-0000-0000-000000000000}"/>
          </ac:picMkLst>
        </pc:picChg>
      </pc:sldChg>
      <pc:sldChg chg="add del">
        <pc:chgData name="Anand Prabhu" userId="6c4c423f-d1f2-47b1-99e3-069c840331b4" providerId="ADAL" clId="{1DA7EDA1-0E59-4DF3-AACB-97850A9B83A1}" dt="2020-05-13T07:35:14.795" v="913" actId="2696"/>
        <pc:sldMkLst>
          <pc:docMk/>
          <pc:sldMk cId="4124844402" sldId="1728"/>
        </pc:sldMkLst>
      </pc:sldChg>
      <pc:sldChg chg="addSp delSp modSp add del">
        <pc:chgData name="Anand Prabhu" userId="6c4c423f-d1f2-47b1-99e3-069c840331b4" providerId="ADAL" clId="{1DA7EDA1-0E59-4DF3-AACB-97850A9B83A1}" dt="2020-05-13T08:20:41.075" v="1039" actId="2696"/>
        <pc:sldMkLst>
          <pc:docMk/>
          <pc:sldMk cId="2126895895" sldId="2439"/>
        </pc:sldMkLst>
        <pc:spChg chg="mod">
          <ac:chgData name="Anand Prabhu" userId="6c4c423f-d1f2-47b1-99e3-069c840331b4" providerId="ADAL" clId="{1DA7EDA1-0E59-4DF3-AACB-97850A9B83A1}" dt="2020-05-13T07:46:12.219" v="934" actId="27636"/>
          <ac:spMkLst>
            <pc:docMk/>
            <pc:sldMk cId="2126895895" sldId="2439"/>
            <ac:spMk id="2" creationId="{990ECCF9-375D-4FCB-B4A7-96CA1132524F}"/>
          </ac:spMkLst>
        </pc:spChg>
        <pc:spChg chg="add del mod">
          <ac:chgData name="Anand Prabhu" userId="6c4c423f-d1f2-47b1-99e3-069c840331b4" providerId="ADAL" clId="{1DA7EDA1-0E59-4DF3-AACB-97850A9B83A1}" dt="2020-05-13T07:46:15.637" v="936" actId="478"/>
          <ac:spMkLst>
            <pc:docMk/>
            <pc:sldMk cId="2126895895" sldId="2439"/>
            <ac:spMk id="4" creationId="{E67633A5-FB73-4E7C-B077-4F88CE1F464D}"/>
          </ac:spMkLst>
        </pc:spChg>
      </pc:sldChg>
      <pc:sldChg chg="modSp add del">
        <pc:chgData name="Anand Prabhu" userId="6c4c423f-d1f2-47b1-99e3-069c840331b4" providerId="ADAL" clId="{1DA7EDA1-0E59-4DF3-AACB-97850A9B83A1}" dt="2020-05-13T08:20:41.191" v="1042" actId="2696"/>
        <pc:sldMkLst>
          <pc:docMk/>
          <pc:sldMk cId="3400647594" sldId="2447"/>
        </pc:sldMkLst>
        <pc:spChg chg="mod">
          <ac:chgData name="Anand Prabhu" userId="6c4c423f-d1f2-47b1-99e3-069c840331b4" providerId="ADAL" clId="{1DA7EDA1-0E59-4DF3-AACB-97850A9B83A1}" dt="2020-05-13T07:47:31.533" v="950" actId="27636"/>
          <ac:spMkLst>
            <pc:docMk/>
            <pc:sldMk cId="3400647594" sldId="2447"/>
            <ac:spMk id="2" creationId="{04F187FE-5D54-48BC-BACA-B6BEBE8B2939}"/>
          </ac:spMkLst>
        </pc:spChg>
        <pc:spChg chg="mod">
          <ac:chgData name="Anand Prabhu" userId="6c4c423f-d1f2-47b1-99e3-069c840331b4" providerId="ADAL" clId="{1DA7EDA1-0E59-4DF3-AACB-97850A9B83A1}" dt="2020-05-13T07:47:23.908" v="946" actId="27636"/>
          <ac:spMkLst>
            <pc:docMk/>
            <pc:sldMk cId="3400647594" sldId="2447"/>
            <ac:spMk id="11" creationId="{D45C60D0-48D9-4FAF-87CA-2676BD8521A6}"/>
          </ac:spMkLst>
        </pc:spChg>
      </pc:sldChg>
      <pc:sldChg chg="modSp add del">
        <pc:chgData name="Anand Prabhu" userId="6c4c423f-d1f2-47b1-99e3-069c840331b4" providerId="ADAL" clId="{1DA7EDA1-0E59-4DF3-AACB-97850A9B83A1}" dt="2020-05-13T08:20:41.138" v="1040" actId="2696"/>
        <pc:sldMkLst>
          <pc:docMk/>
          <pc:sldMk cId="634108600" sldId="2449"/>
        </pc:sldMkLst>
        <pc:spChg chg="mod">
          <ac:chgData name="Anand Prabhu" userId="6c4c423f-d1f2-47b1-99e3-069c840331b4" providerId="ADAL" clId="{1DA7EDA1-0E59-4DF3-AACB-97850A9B83A1}" dt="2020-05-13T07:46:55.657" v="940" actId="20577"/>
          <ac:spMkLst>
            <pc:docMk/>
            <pc:sldMk cId="634108600" sldId="2449"/>
            <ac:spMk id="2" creationId="{990ECCF9-375D-4FCB-B4A7-96CA1132524F}"/>
          </ac:spMkLst>
        </pc:spChg>
        <pc:spChg chg="mod">
          <ac:chgData name="Anand Prabhu" userId="6c4c423f-d1f2-47b1-99e3-069c840331b4" providerId="ADAL" clId="{1DA7EDA1-0E59-4DF3-AACB-97850A9B83A1}" dt="2020-05-13T07:46:50.149" v="938" actId="27636"/>
          <ac:spMkLst>
            <pc:docMk/>
            <pc:sldMk cId="634108600" sldId="2449"/>
            <ac:spMk id="3" creationId="{33A1CDAE-AB64-4E8C-9F83-73FBAC3FED0C}"/>
          </ac:spMkLst>
        </pc:spChg>
      </pc:sldChg>
      <pc:sldChg chg="addSp delSp modSp add del">
        <pc:chgData name="Anand Prabhu" userId="6c4c423f-d1f2-47b1-99e3-069c840331b4" providerId="ADAL" clId="{1DA7EDA1-0E59-4DF3-AACB-97850A9B83A1}" dt="2020-05-13T08:20:41.175" v="1041" actId="2696"/>
        <pc:sldMkLst>
          <pc:docMk/>
          <pc:sldMk cId="1373135985" sldId="2461"/>
        </pc:sldMkLst>
        <pc:spChg chg="mod">
          <ac:chgData name="Anand Prabhu" userId="6c4c423f-d1f2-47b1-99e3-069c840331b4" providerId="ADAL" clId="{1DA7EDA1-0E59-4DF3-AACB-97850A9B83A1}" dt="2020-05-13T07:47:04.116" v="943" actId="27636"/>
          <ac:spMkLst>
            <pc:docMk/>
            <pc:sldMk cId="1373135985" sldId="2461"/>
            <ac:spMk id="2" creationId="{990ECCF9-375D-4FCB-B4A7-96CA1132524F}"/>
          </ac:spMkLst>
        </pc:spChg>
        <pc:spChg chg="add del mod">
          <ac:chgData name="Anand Prabhu" userId="6c4c423f-d1f2-47b1-99e3-069c840331b4" providerId="ADAL" clId="{1DA7EDA1-0E59-4DF3-AACB-97850A9B83A1}" dt="2020-05-13T07:47:15.456" v="945" actId="478"/>
          <ac:spMkLst>
            <pc:docMk/>
            <pc:sldMk cId="1373135985" sldId="2461"/>
            <ac:spMk id="3" creationId="{88A083A1-3602-4E16-88BD-DE0A072A77A2}"/>
          </ac:spMkLst>
        </pc:spChg>
      </pc:sldChg>
      <pc:sldChg chg="add ord modTransition">
        <pc:chgData name="Anand Prabhu" userId="6c4c423f-d1f2-47b1-99e3-069c840331b4" providerId="ADAL" clId="{1DA7EDA1-0E59-4DF3-AACB-97850A9B83A1}" dt="2020-05-13T08:46:25.216" v="1192"/>
        <pc:sldMkLst>
          <pc:docMk/>
          <pc:sldMk cId="4133487147" sldId="4539"/>
        </pc:sldMkLst>
      </pc:sldChg>
      <pc:sldChg chg="add modTransition">
        <pc:chgData name="Anand Prabhu" userId="6c4c423f-d1f2-47b1-99e3-069c840331b4" providerId="ADAL" clId="{1DA7EDA1-0E59-4DF3-AACB-97850A9B83A1}" dt="2020-05-13T07:56:21.506" v="999"/>
        <pc:sldMkLst>
          <pc:docMk/>
          <pc:sldMk cId="79418590" sldId="4544"/>
        </pc:sldMkLst>
      </pc:sldChg>
      <pc:sldChg chg="add del">
        <pc:chgData name="Anand Prabhu" userId="6c4c423f-d1f2-47b1-99e3-069c840331b4" providerId="ADAL" clId="{1DA7EDA1-0E59-4DF3-AACB-97850A9B83A1}" dt="2020-05-13T08:56:21.948" v="1360" actId="2696"/>
        <pc:sldMkLst>
          <pc:docMk/>
          <pc:sldMk cId="1363997982" sldId="4550"/>
        </pc:sldMkLst>
      </pc:sldChg>
      <pc:sldChg chg="add del ord modTransition setBg">
        <pc:chgData name="Anand Prabhu" userId="6c4c423f-d1f2-47b1-99e3-069c840331b4" providerId="ADAL" clId="{1DA7EDA1-0E59-4DF3-AACB-97850A9B83A1}" dt="2020-05-13T08:48:34.042" v="1200" actId="2696"/>
        <pc:sldMkLst>
          <pc:docMk/>
          <pc:sldMk cId="3207251887" sldId="4550"/>
        </pc:sldMkLst>
      </pc:sldChg>
      <pc:sldChg chg="add">
        <pc:chgData name="Anand Prabhu" userId="6c4c423f-d1f2-47b1-99e3-069c840331b4" providerId="ADAL" clId="{1DA7EDA1-0E59-4DF3-AACB-97850A9B83A1}" dt="2020-05-13T08:56:27.875" v="1361"/>
        <pc:sldMkLst>
          <pc:docMk/>
          <pc:sldMk cId="3513949734" sldId="4550"/>
        </pc:sldMkLst>
      </pc:sldChg>
      <pc:sldChg chg="add">
        <pc:chgData name="Anand Prabhu" userId="6c4c423f-d1f2-47b1-99e3-069c840331b4" providerId="ADAL" clId="{1DA7EDA1-0E59-4DF3-AACB-97850A9B83A1}" dt="2020-05-13T08:56:27.875" v="1361"/>
        <pc:sldMkLst>
          <pc:docMk/>
          <pc:sldMk cId="2561398617" sldId="4551"/>
        </pc:sldMkLst>
      </pc:sldChg>
      <pc:sldChg chg="addSp delSp modSp add del">
        <pc:chgData name="Anand Prabhu" userId="6c4c423f-d1f2-47b1-99e3-069c840331b4" providerId="ADAL" clId="{1DA7EDA1-0E59-4DF3-AACB-97850A9B83A1}" dt="2020-05-13T08:56:21.934" v="1359" actId="2696"/>
        <pc:sldMkLst>
          <pc:docMk/>
          <pc:sldMk cId="2687385213" sldId="4551"/>
        </pc:sldMkLst>
        <pc:spChg chg="del">
          <ac:chgData name="Anand Prabhu" userId="6c4c423f-d1f2-47b1-99e3-069c840331b4" providerId="ADAL" clId="{1DA7EDA1-0E59-4DF3-AACB-97850A9B83A1}" dt="2020-05-13T08:41:37.810" v="1098"/>
          <ac:spMkLst>
            <pc:docMk/>
            <pc:sldMk cId="2687385213" sldId="4551"/>
            <ac:spMk id="2" creationId="{3F511ED2-B2FB-4213-B297-9DB36A7F8628}"/>
          </ac:spMkLst>
        </pc:spChg>
        <pc:spChg chg="del">
          <ac:chgData name="Anand Prabhu" userId="6c4c423f-d1f2-47b1-99e3-069c840331b4" providerId="ADAL" clId="{1DA7EDA1-0E59-4DF3-AACB-97850A9B83A1}" dt="2020-05-13T08:41:37.810" v="1098"/>
          <ac:spMkLst>
            <pc:docMk/>
            <pc:sldMk cId="2687385213" sldId="4551"/>
            <ac:spMk id="3" creationId="{D0F1B5EC-58DD-415A-A75F-DFEB5CCDAE13}"/>
          </ac:spMkLst>
        </pc:spChg>
        <pc:spChg chg="add mod">
          <ac:chgData name="Anand Prabhu" userId="6c4c423f-d1f2-47b1-99e3-069c840331b4" providerId="ADAL" clId="{1DA7EDA1-0E59-4DF3-AACB-97850A9B83A1}" dt="2020-05-13T08:41:54.719" v="1134" actId="20577"/>
          <ac:spMkLst>
            <pc:docMk/>
            <pc:sldMk cId="2687385213" sldId="4551"/>
            <ac:spMk id="4" creationId="{0CBBCC2F-A72A-4C83-B55B-854D4744619E}"/>
          </ac:spMkLst>
        </pc:spChg>
        <pc:spChg chg="add mod">
          <ac:chgData name="Anand Prabhu" userId="6c4c423f-d1f2-47b1-99e3-069c840331b4" providerId="ADAL" clId="{1DA7EDA1-0E59-4DF3-AACB-97850A9B83A1}" dt="2020-05-13T08:41:50.284" v="1123" actId="20577"/>
          <ac:spMkLst>
            <pc:docMk/>
            <pc:sldMk cId="2687385213" sldId="4551"/>
            <ac:spMk id="5" creationId="{309F469F-455A-45B1-A682-1C40A1BBBC5A}"/>
          </ac:spMkLst>
        </pc:spChg>
      </pc:sldChg>
      <pc:sldChg chg="modSp add">
        <pc:chgData name="Anand Prabhu" userId="6c4c423f-d1f2-47b1-99e3-069c840331b4" providerId="ADAL" clId="{1DA7EDA1-0E59-4DF3-AACB-97850A9B83A1}" dt="2020-05-13T08:42:35.102" v="1165" actId="20577"/>
        <pc:sldMkLst>
          <pc:docMk/>
          <pc:sldMk cId="255522928" sldId="4552"/>
        </pc:sldMkLst>
        <pc:spChg chg="mod">
          <ac:chgData name="Anand Prabhu" userId="6c4c423f-d1f2-47b1-99e3-069c840331b4" providerId="ADAL" clId="{1DA7EDA1-0E59-4DF3-AACB-97850A9B83A1}" dt="2020-05-13T08:42:24.187" v="1147" actId="20577"/>
          <ac:spMkLst>
            <pc:docMk/>
            <pc:sldMk cId="255522928" sldId="4552"/>
            <ac:spMk id="4" creationId="{0CBBCC2F-A72A-4C83-B55B-854D4744619E}"/>
          </ac:spMkLst>
        </pc:spChg>
        <pc:spChg chg="mod">
          <ac:chgData name="Anand Prabhu" userId="6c4c423f-d1f2-47b1-99e3-069c840331b4" providerId="ADAL" clId="{1DA7EDA1-0E59-4DF3-AACB-97850A9B83A1}" dt="2020-05-13T08:42:35.102" v="1165" actId="20577"/>
          <ac:spMkLst>
            <pc:docMk/>
            <pc:sldMk cId="255522928" sldId="4552"/>
            <ac:spMk id="5" creationId="{309F469F-455A-45B1-A682-1C40A1BBBC5A}"/>
          </ac:spMkLst>
        </pc:spChg>
      </pc:sldChg>
      <pc:sldChg chg="modSp add">
        <pc:chgData name="Anand Prabhu" userId="6c4c423f-d1f2-47b1-99e3-069c840331b4" providerId="ADAL" clId="{1DA7EDA1-0E59-4DF3-AACB-97850A9B83A1}" dt="2020-05-13T08:46:15.910" v="1191" actId="20577"/>
        <pc:sldMkLst>
          <pc:docMk/>
          <pc:sldMk cId="1537084499" sldId="4553"/>
        </pc:sldMkLst>
        <pc:spChg chg="mod">
          <ac:chgData name="Anand Prabhu" userId="6c4c423f-d1f2-47b1-99e3-069c840331b4" providerId="ADAL" clId="{1DA7EDA1-0E59-4DF3-AACB-97850A9B83A1}" dt="2020-05-13T08:46:15.910" v="1191" actId="20577"/>
          <ac:spMkLst>
            <pc:docMk/>
            <pc:sldMk cId="1537084499" sldId="4553"/>
            <ac:spMk id="4" creationId="{0CBBCC2F-A72A-4C83-B55B-854D4744619E}"/>
          </ac:spMkLst>
        </pc:spChg>
        <pc:spChg chg="mod">
          <ac:chgData name="Anand Prabhu" userId="6c4c423f-d1f2-47b1-99e3-069c840331b4" providerId="ADAL" clId="{1DA7EDA1-0E59-4DF3-AACB-97850A9B83A1}" dt="2020-05-13T08:46:08.993" v="1179" actId="20577"/>
          <ac:spMkLst>
            <pc:docMk/>
            <pc:sldMk cId="1537084499" sldId="4553"/>
            <ac:spMk id="5" creationId="{309F469F-455A-45B1-A682-1C40A1BBBC5A}"/>
          </ac:spMkLst>
        </pc:spChg>
      </pc:sldChg>
      <pc:sldChg chg="modSp add">
        <pc:chgData name="Anand Prabhu" userId="6c4c423f-d1f2-47b1-99e3-069c840331b4" providerId="ADAL" clId="{1DA7EDA1-0E59-4DF3-AACB-97850A9B83A1}" dt="2020-05-13T08:49:16.231" v="1223" actId="20577"/>
        <pc:sldMkLst>
          <pc:docMk/>
          <pc:sldMk cId="3828036671" sldId="4554"/>
        </pc:sldMkLst>
        <pc:spChg chg="mod">
          <ac:chgData name="Anand Prabhu" userId="6c4c423f-d1f2-47b1-99e3-069c840331b4" providerId="ADAL" clId="{1DA7EDA1-0E59-4DF3-AACB-97850A9B83A1}" dt="2020-05-13T08:49:16.231" v="1223" actId="20577"/>
          <ac:spMkLst>
            <pc:docMk/>
            <pc:sldMk cId="3828036671" sldId="4554"/>
            <ac:spMk id="4" creationId="{0CBBCC2F-A72A-4C83-B55B-854D4744619E}"/>
          </ac:spMkLst>
        </pc:spChg>
      </pc:sldChg>
      <pc:sldChg chg="modSp add">
        <pc:chgData name="Anand Prabhu" userId="6c4c423f-d1f2-47b1-99e3-069c840331b4" providerId="ADAL" clId="{1DA7EDA1-0E59-4DF3-AACB-97850A9B83A1}" dt="2020-05-13T08:52:25.560" v="1263" actId="313"/>
        <pc:sldMkLst>
          <pc:docMk/>
          <pc:sldMk cId="2911870159" sldId="4555"/>
        </pc:sldMkLst>
        <pc:spChg chg="mod">
          <ac:chgData name="Anand Prabhu" userId="6c4c423f-d1f2-47b1-99e3-069c840331b4" providerId="ADAL" clId="{1DA7EDA1-0E59-4DF3-AACB-97850A9B83A1}" dt="2020-05-13T08:52:25.560" v="1263" actId="313"/>
          <ac:spMkLst>
            <pc:docMk/>
            <pc:sldMk cId="2911870159" sldId="4555"/>
            <ac:spMk id="4" creationId="{0CBBCC2F-A72A-4C83-B55B-854D4744619E}"/>
          </ac:spMkLst>
        </pc:spChg>
        <pc:spChg chg="mod">
          <ac:chgData name="Anand Prabhu" userId="6c4c423f-d1f2-47b1-99e3-069c840331b4" providerId="ADAL" clId="{1DA7EDA1-0E59-4DF3-AACB-97850A9B83A1}" dt="2020-05-13T08:52:05.554" v="1245" actId="20577"/>
          <ac:spMkLst>
            <pc:docMk/>
            <pc:sldMk cId="2911870159" sldId="4555"/>
            <ac:spMk id="5" creationId="{309F469F-455A-45B1-A682-1C40A1BBBC5A}"/>
          </ac:spMkLst>
        </pc:spChg>
      </pc:sldChg>
      <pc:sldChg chg="modSp add">
        <pc:chgData name="Anand Prabhu" userId="6c4c423f-d1f2-47b1-99e3-069c840331b4" providerId="ADAL" clId="{1DA7EDA1-0E59-4DF3-AACB-97850A9B83A1}" dt="2020-05-13T08:53:08.461" v="1294" actId="20577"/>
        <pc:sldMkLst>
          <pc:docMk/>
          <pc:sldMk cId="3532437932" sldId="4556"/>
        </pc:sldMkLst>
        <pc:spChg chg="mod">
          <ac:chgData name="Anand Prabhu" userId="6c4c423f-d1f2-47b1-99e3-069c840331b4" providerId="ADAL" clId="{1DA7EDA1-0E59-4DF3-AACB-97850A9B83A1}" dt="2020-05-13T08:53:08.461" v="1294" actId="20577"/>
          <ac:spMkLst>
            <pc:docMk/>
            <pc:sldMk cId="3532437932" sldId="4556"/>
            <ac:spMk id="4" creationId="{0CBBCC2F-A72A-4C83-B55B-854D4744619E}"/>
          </ac:spMkLst>
        </pc:spChg>
      </pc:sldChg>
      <pc:sldChg chg="modSp add">
        <pc:chgData name="Anand Prabhu" userId="6c4c423f-d1f2-47b1-99e3-069c840331b4" providerId="ADAL" clId="{1DA7EDA1-0E59-4DF3-AACB-97850A9B83A1}" dt="2020-05-13T08:53:44.975" v="1332" actId="20577"/>
        <pc:sldMkLst>
          <pc:docMk/>
          <pc:sldMk cId="3701357678" sldId="4557"/>
        </pc:sldMkLst>
        <pc:spChg chg="mod">
          <ac:chgData name="Anand Prabhu" userId="6c4c423f-d1f2-47b1-99e3-069c840331b4" providerId="ADAL" clId="{1DA7EDA1-0E59-4DF3-AACB-97850A9B83A1}" dt="2020-05-13T08:53:44.975" v="1332" actId="20577"/>
          <ac:spMkLst>
            <pc:docMk/>
            <pc:sldMk cId="3701357678" sldId="4557"/>
            <ac:spMk id="4" creationId="{0CBBCC2F-A72A-4C83-B55B-854D4744619E}"/>
          </ac:spMkLst>
        </pc:spChg>
      </pc:sldChg>
      <pc:sldChg chg="modSp add">
        <pc:chgData name="Anand Prabhu" userId="6c4c423f-d1f2-47b1-99e3-069c840331b4" providerId="ADAL" clId="{1DA7EDA1-0E59-4DF3-AACB-97850A9B83A1}" dt="2020-05-13T08:54:49.266" v="1354" actId="6549"/>
        <pc:sldMkLst>
          <pc:docMk/>
          <pc:sldMk cId="3620474651" sldId="4558"/>
        </pc:sldMkLst>
        <pc:spChg chg="mod">
          <ac:chgData name="Anand Prabhu" userId="6c4c423f-d1f2-47b1-99e3-069c840331b4" providerId="ADAL" clId="{1DA7EDA1-0E59-4DF3-AACB-97850A9B83A1}" dt="2020-05-13T08:54:44.173" v="1353" actId="20577"/>
          <ac:spMkLst>
            <pc:docMk/>
            <pc:sldMk cId="3620474651" sldId="4558"/>
            <ac:spMk id="4" creationId="{0CBBCC2F-A72A-4C83-B55B-854D4744619E}"/>
          </ac:spMkLst>
        </pc:spChg>
        <pc:spChg chg="mod">
          <ac:chgData name="Anand Prabhu" userId="6c4c423f-d1f2-47b1-99e3-069c840331b4" providerId="ADAL" clId="{1DA7EDA1-0E59-4DF3-AACB-97850A9B83A1}" dt="2020-05-13T08:54:49.266" v="1354" actId="6549"/>
          <ac:spMkLst>
            <pc:docMk/>
            <pc:sldMk cId="3620474651" sldId="4558"/>
            <ac:spMk id="5" creationId="{309F469F-455A-45B1-A682-1C40A1BBBC5A}"/>
          </ac:spMkLst>
        </pc:spChg>
      </pc:sldChg>
      <pc:sldChg chg="addSp delSp modSp add ord">
        <pc:chgData name="Anand Prabhu" userId="6c4c423f-d1f2-47b1-99e3-069c840331b4" providerId="ADAL" clId="{1DA7EDA1-0E59-4DF3-AACB-97850A9B83A1}" dt="2020-05-13T09:08:03.255" v="1734" actId="1038"/>
        <pc:sldMkLst>
          <pc:docMk/>
          <pc:sldMk cId="951388135" sldId="4559"/>
        </pc:sldMkLst>
        <pc:spChg chg="del">
          <ac:chgData name="Anand Prabhu" userId="6c4c423f-d1f2-47b1-99e3-069c840331b4" providerId="ADAL" clId="{1DA7EDA1-0E59-4DF3-AACB-97850A9B83A1}" dt="2020-05-13T09:06:05.725" v="1519" actId="478"/>
          <ac:spMkLst>
            <pc:docMk/>
            <pc:sldMk cId="951388135" sldId="4559"/>
            <ac:spMk id="3" creationId="{656FA113-0553-41C8-8780-68DF73B2869E}"/>
          </ac:spMkLst>
        </pc:spChg>
        <pc:picChg chg="add mod">
          <ac:chgData name="Anand Prabhu" userId="6c4c423f-d1f2-47b1-99e3-069c840331b4" providerId="ADAL" clId="{1DA7EDA1-0E59-4DF3-AACB-97850A9B83A1}" dt="2020-05-13T09:08:03.255" v="1734" actId="1038"/>
          <ac:picMkLst>
            <pc:docMk/>
            <pc:sldMk cId="951388135" sldId="4559"/>
            <ac:picMk id="5" creationId="{481000F8-1380-482A-A244-43722E970290}"/>
          </ac:picMkLst>
        </pc:picChg>
      </pc:sldChg>
      <pc:sldChg chg="add del">
        <pc:chgData name="Anand Prabhu" userId="6c4c423f-d1f2-47b1-99e3-069c840331b4" providerId="ADAL" clId="{1DA7EDA1-0E59-4DF3-AACB-97850A9B83A1}" dt="2020-05-13T09:05:58.379" v="1516"/>
        <pc:sldMkLst>
          <pc:docMk/>
          <pc:sldMk cId="1669525593" sldId="4559"/>
        </pc:sldMkLst>
      </pc:sldChg>
      <pc:sldMasterChg chg="delSldLayout">
        <pc:chgData name="Anand Prabhu" userId="6c4c423f-d1f2-47b1-99e3-069c840331b4" providerId="ADAL" clId="{1DA7EDA1-0E59-4DF3-AACB-97850A9B83A1}" dt="2020-05-13T08:53:58.956" v="1334" actId="2696"/>
        <pc:sldMasterMkLst>
          <pc:docMk/>
          <pc:sldMasterMk cId="3362795782" sldId="2147483786"/>
        </pc:sldMasterMkLst>
        <pc:sldLayoutChg chg="del">
          <pc:chgData name="Anand Prabhu" userId="6c4c423f-d1f2-47b1-99e3-069c840331b4" providerId="ADAL" clId="{1DA7EDA1-0E59-4DF3-AACB-97850A9B83A1}" dt="2020-05-13T08:53:58.956" v="1334" actId="2696"/>
          <pc:sldLayoutMkLst>
            <pc:docMk/>
            <pc:sldMasterMk cId="3362795782" sldId="2147483786"/>
            <pc:sldLayoutMk cId="1863342784" sldId="2147483808"/>
          </pc:sldLayoutMkLst>
        </pc:sldLayoutChg>
        <pc:sldLayoutChg chg="del">
          <pc:chgData name="Anand Prabhu" userId="6c4c423f-d1f2-47b1-99e3-069c840331b4" providerId="ADAL" clId="{1DA7EDA1-0E59-4DF3-AACB-97850A9B83A1}" dt="2020-05-13T07:08:06.470" v="27" actId="2696"/>
          <pc:sldLayoutMkLst>
            <pc:docMk/>
            <pc:sldMasterMk cId="3362795782" sldId="2147483786"/>
            <pc:sldLayoutMk cId="3964354818" sldId="2147483812"/>
          </pc:sldLayoutMkLst>
        </pc:sldLayoutChg>
      </pc:sldMasterChg>
    </pc:docChg>
  </pc:docChgLst>
  <pc:docChgLst>
    <pc:chgData name="Anand Prabhu" userId="6c4c423f-d1f2-47b1-99e3-069c840331b4" providerId="ADAL" clId="{08D862B8-D1A3-449B-82FD-18FB89572875}"/>
    <pc:docChg chg="undo custSel addSld delSld modSld sldOrd modSection">
      <pc:chgData name="Anand Prabhu" userId="6c4c423f-d1f2-47b1-99e3-069c840331b4" providerId="ADAL" clId="{08D862B8-D1A3-449B-82FD-18FB89572875}" dt="2020-07-25T06:50:32.587" v="82" actId="14100"/>
      <pc:docMkLst>
        <pc:docMk/>
      </pc:docMkLst>
      <pc:sldChg chg="ord">
        <pc:chgData name="Anand Prabhu" userId="6c4c423f-d1f2-47b1-99e3-069c840331b4" providerId="ADAL" clId="{08D862B8-D1A3-449B-82FD-18FB89572875}" dt="2020-07-25T06:45:43.651" v="28"/>
        <pc:sldMkLst>
          <pc:docMk/>
          <pc:sldMk cId="2099232856" sldId="296"/>
        </pc:sldMkLst>
      </pc:sldChg>
      <pc:sldChg chg="ord">
        <pc:chgData name="Anand Prabhu" userId="6c4c423f-d1f2-47b1-99e3-069c840331b4" providerId="ADAL" clId="{08D862B8-D1A3-449B-82FD-18FB89572875}" dt="2020-07-25T06:45:43.651" v="28"/>
        <pc:sldMkLst>
          <pc:docMk/>
          <pc:sldMk cId="4045199007" sldId="679"/>
        </pc:sldMkLst>
      </pc:sldChg>
      <pc:sldChg chg="ord">
        <pc:chgData name="Anand Prabhu" userId="6c4c423f-d1f2-47b1-99e3-069c840331b4" providerId="ADAL" clId="{08D862B8-D1A3-449B-82FD-18FB89572875}" dt="2020-07-25T06:45:43.651" v="28"/>
        <pc:sldMkLst>
          <pc:docMk/>
          <pc:sldMk cId="2154481219" sldId="702"/>
        </pc:sldMkLst>
      </pc:sldChg>
      <pc:sldChg chg="ord">
        <pc:chgData name="Anand Prabhu" userId="6c4c423f-d1f2-47b1-99e3-069c840331b4" providerId="ADAL" clId="{08D862B8-D1A3-449B-82FD-18FB89572875}" dt="2020-07-25T06:45:43.651" v="28"/>
        <pc:sldMkLst>
          <pc:docMk/>
          <pc:sldMk cId="3438081181" sldId="728"/>
        </pc:sldMkLst>
      </pc:sldChg>
      <pc:sldChg chg="modTransition">
        <pc:chgData name="Anand Prabhu" userId="6c4c423f-d1f2-47b1-99e3-069c840331b4" providerId="ADAL" clId="{08D862B8-D1A3-449B-82FD-18FB89572875}" dt="2020-07-15T04:19:33.786" v="0"/>
        <pc:sldMkLst>
          <pc:docMk/>
          <pc:sldMk cId="2818435884" sldId="732"/>
        </pc:sldMkLst>
      </pc:sldChg>
      <pc:sldChg chg="ord">
        <pc:chgData name="Anand Prabhu" userId="6c4c423f-d1f2-47b1-99e3-069c840331b4" providerId="ADAL" clId="{08D862B8-D1A3-449B-82FD-18FB89572875}" dt="2020-07-25T06:47:29.603" v="31"/>
        <pc:sldMkLst>
          <pc:docMk/>
          <pc:sldMk cId="3561417366" sldId="736"/>
        </pc:sldMkLst>
      </pc:sldChg>
      <pc:sldChg chg="ord">
        <pc:chgData name="Anand Prabhu" userId="6c4c423f-d1f2-47b1-99e3-069c840331b4" providerId="ADAL" clId="{08D862B8-D1A3-449B-82FD-18FB89572875}" dt="2020-07-25T06:47:29.603" v="31"/>
        <pc:sldMkLst>
          <pc:docMk/>
          <pc:sldMk cId="982234604" sldId="737"/>
        </pc:sldMkLst>
      </pc:sldChg>
      <pc:sldChg chg="ord">
        <pc:chgData name="Anand Prabhu" userId="6c4c423f-d1f2-47b1-99e3-069c840331b4" providerId="ADAL" clId="{08D862B8-D1A3-449B-82FD-18FB89572875}" dt="2020-07-25T06:45:43.651" v="28"/>
        <pc:sldMkLst>
          <pc:docMk/>
          <pc:sldMk cId="1567553940" sldId="739"/>
        </pc:sldMkLst>
      </pc:sldChg>
      <pc:sldChg chg="ord">
        <pc:chgData name="Anand Prabhu" userId="6c4c423f-d1f2-47b1-99e3-069c840331b4" providerId="ADAL" clId="{08D862B8-D1A3-449B-82FD-18FB89572875}" dt="2020-07-25T06:45:43.651" v="28"/>
        <pc:sldMkLst>
          <pc:docMk/>
          <pc:sldMk cId="1591357489" sldId="744"/>
        </pc:sldMkLst>
      </pc:sldChg>
      <pc:sldChg chg="ord">
        <pc:chgData name="Anand Prabhu" userId="6c4c423f-d1f2-47b1-99e3-069c840331b4" providerId="ADAL" clId="{08D862B8-D1A3-449B-82FD-18FB89572875}" dt="2020-07-25T06:45:43.651" v="28"/>
        <pc:sldMkLst>
          <pc:docMk/>
          <pc:sldMk cId="1259475928" sldId="746"/>
        </pc:sldMkLst>
      </pc:sldChg>
      <pc:sldChg chg="ord">
        <pc:chgData name="Anand Prabhu" userId="6c4c423f-d1f2-47b1-99e3-069c840331b4" providerId="ADAL" clId="{08D862B8-D1A3-449B-82FD-18FB89572875}" dt="2020-07-25T06:45:43.651" v="28"/>
        <pc:sldMkLst>
          <pc:docMk/>
          <pc:sldMk cId="325675679" sldId="748"/>
        </pc:sldMkLst>
      </pc:sldChg>
      <pc:sldChg chg="ord">
        <pc:chgData name="Anand Prabhu" userId="6c4c423f-d1f2-47b1-99e3-069c840331b4" providerId="ADAL" clId="{08D862B8-D1A3-449B-82FD-18FB89572875}" dt="2020-07-25T06:45:43.651" v="28"/>
        <pc:sldMkLst>
          <pc:docMk/>
          <pc:sldMk cId="278505841" sldId="749"/>
        </pc:sldMkLst>
      </pc:sldChg>
      <pc:sldChg chg="modTransition">
        <pc:chgData name="Anand Prabhu" userId="6c4c423f-d1f2-47b1-99e3-069c840331b4" providerId="ADAL" clId="{08D862B8-D1A3-449B-82FD-18FB89572875}" dt="2020-07-15T04:19:33.786" v="0"/>
        <pc:sldMkLst>
          <pc:docMk/>
          <pc:sldMk cId="1802420215" sldId="777"/>
        </pc:sldMkLst>
      </pc:sldChg>
      <pc:sldChg chg="modTransition">
        <pc:chgData name="Anand Prabhu" userId="6c4c423f-d1f2-47b1-99e3-069c840331b4" providerId="ADAL" clId="{08D862B8-D1A3-449B-82FD-18FB89572875}" dt="2020-07-15T04:19:33.786" v="0"/>
        <pc:sldMkLst>
          <pc:docMk/>
          <pc:sldMk cId="2842770800" sldId="778"/>
        </pc:sldMkLst>
      </pc:sldChg>
      <pc:sldChg chg="modTransition">
        <pc:chgData name="Anand Prabhu" userId="6c4c423f-d1f2-47b1-99e3-069c840331b4" providerId="ADAL" clId="{08D862B8-D1A3-449B-82FD-18FB89572875}" dt="2020-07-15T04:19:33.786" v="0"/>
        <pc:sldMkLst>
          <pc:docMk/>
          <pc:sldMk cId="1197708568" sldId="779"/>
        </pc:sldMkLst>
      </pc:sldChg>
      <pc:sldChg chg="modTransition">
        <pc:chgData name="Anand Prabhu" userId="6c4c423f-d1f2-47b1-99e3-069c840331b4" providerId="ADAL" clId="{08D862B8-D1A3-449B-82FD-18FB89572875}" dt="2020-07-15T04:19:33.786" v="0"/>
        <pc:sldMkLst>
          <pc:docMk/>
          <pc:sldMk cId="152384711" sldId="780"/>
        </pc:sldMkLst>
      </pc:sldChg>
      <pc:sldChg chg="modTransition">
        <pc:chgData name="Anand Prabhu" userId="6c4c423f-d1f2-47b1-99e3-069c840331b4" providerId="ADAL" clId="{08D862B8-D1A3-449B-82FD-18FB89572875}" dt="2020-07-15T04:19:33.786" v="0"/>
        <pc:sldMkLst>
          <pc:docMk/>
          <pc:sldMk cId="1197497591" sldId="781"/>
        </pc:sldMkLst>
      </pc:sldChg>
      <pc:sldChg chg="modTransition">
        <pc:chgData name="Anand Prabhu" userId="6c4c423f-d1f2-47b1-99e3-069c840331b4" providerId="ADAL" clId="{08D862B8-D1A3-449B-82FD-18FB89572875}" dt="2020-07-15T04:19:33.786" v="0"/>
        <pc:sldMkLst>
          <pc:docMk/>
          <pc:sldMk cId="4048037440" sldId="782"/>
        </pc:sldMkLst>
      </pc:sldChg>
      <pc:sldChg chg="modTransition">
        <pc:chgData name="Anand Prabhu" userId="6c4c423f-d1f2-47b1-99e3-069c840331b4" providerId="ADAL" clId="{08D862B8-D1A3-449B-82FD-18FB89572875}" dt="2020-07-15T04:19:33.786" v="0"/>
        <pc:sldMkLst>
          <pc:docMk/>
          <pc:sldMk cId="723145865" sldId="784"/>
        </pc:sldMkLst>
      </pc:sldChg>
      <pc:sldChg chg="modTransition">
        <pc:chgData name="Anand Prabhu" userId="6c4c423f-d1f2-47b1-99e3-069c840331b4" providerId="ADAL" clId="{08D862B8-D1A3-449B-82FD-18FB89572875}" dt="2020-07-15T04:19:33.786" v="0"/>
        <pc:sldMkLst>
          <pc:docMk/>
          <pc:sldMk cId="1272676977" sldId="788"/>
        </pc:sldMkLst>
      </pc:sldChg>
      <pc:sldChg chg="addSp delSp modSp modTransition">
        <pc:chgData name="Anand Prabhu" userId="6c4c423f-d1f2-47b1-99e3-069c840331b4" providerId="ADAL" clId="{08D862B8-D1A3-449B-82FD-18FB89572875}" dt="2020-07-25T06:37:35.480" v="26"/>
        <pc:sldMkLst>
          <pc:docMk/>
          <pc:sldMk cId="1017512670" sldId="1704"/>
        </pc:sldMkLst>
        <pc:spChg chg="mod">
          <ac:chgData name="Anand Prabhu" userId="6c4c423f-d1f2-47b1-99e3-069c840331b4" providerId="ADAL" clId="{08D862B8-D1A3-449B-82FD-18FB89572875}" dt="2020-07-25T06:37:35.480" v="26"/>
          <ac:spMkLst>
            <pc:docMk/>
            <pc:sldMk cId="1017512670" sldId="1704"/>
            <ac:spMk id="2" creationId="{90D1D37F-9777-4AC2-B701-65A67F74A26C}"/>
          </ac:spMkLst>
        </pc:spChg>
        <pc:spChg chg="add del mod">
          <ac:chgData name="Anand Prabhu" userId="6c4c423f-d1f2-47b1-99e3-069c840331b4" providerId="ADAL" clId="{08D862B8-D1A3-449B-82FD-18FB89572875}" dt="2020-07-25T06:37:35.480" v="26"/>
          <ac:spMkLst>
            <pc:docMk/>
            <pc:sldMk cId="1017512670" sldId="1704"/>
            <ac:spMk id="3" creationId="{F4CF4A9A-339B-4B33-9DA9-79147EB89210}"/>
          </ac:spMkLst>
        </pc:spChg>
      </pc:sldChg>
      <pc:sldChg chg="modSp">
        <pc:chgData name="Anand Prabhu" userId="6c4c423f-d1f2-47b1-99e3-069c840331b4" providerId="ADAL" clId="{08D862B8-D1A3-449B-82FD-18FB89572875}" dt="2020-07-25T06:37:06.908" v="22" actId="20577"/>
        <pc:sldMkLst>
          <pc:docMk/>
          <pc:sldMk cId="3504930069" sldId="1720"/>
        </pc:sldMkLst>
        <pc:spChg chg="mod">
          <ac:chgData name="Anand Prabhu" userId="6c4c423f-d1f2-47b1-99e3-069c840331b4" providerId="ADAL" clId="{08D862B8-D1A3-449B-82FD-18FB89572875}" dt="2020-07-25T06:37:06.908" v="22" actId="20577"/>
          <ac:spMkLst>
            <pc:docMk/>
            <pc:sldMk cId="3504930069" sldId="1720"/>
            <ac:spMk id="287" creationId="{FEC81856-5FC4-44F1-B469-E4ABACAE2E5E}"/>
          </ac:spMkLst>
        </pc:spChg>
        <pc:cxnChg chg="mod">
          <ac:chgData name="Anand Prabhu" userId="6c4c423f-d1f2-47b1-99e3-069c840331b4" providerId="ADAL" clId="{08D862B8-D1A3-449B-82FD-18FB89572875}" dt="2020-07-25T06:37:05.484" v="17" actId="20577"/>
          <ac:cxnSpMkLst>
            <pc:docMk/>
            <pc:sldMk cId="3504930069" sldId="1720"/>
            <ac:cxnSpMk id="269" creationId="{2FEAD7F7-3A99-4BB8-BE2B-41A766BBE4A1}"/>
          </ac:cxnSpMkLst>
        </pc:cxnChg>
      </pc:sldChg>
      <pc:sldChg chg="modTransition">
        <pc:chgData name="Anand Prabhu" userId="6c4c423f-d1f2-47b1-99e3-069c840331b4" providerId="ADAL" clId="{08D862B8-D1A3-449B-82FD-18FB89572875}" dt="2020-07-15T04:19:33.786" v="0"/>
        <pc:sldMkLst>
          <pc:docMk/>
          <pc:sldMk cId="2816930418" sldId="1721"/>
        </pc:sldMkLst>
      </pc:sldChg>
      <pc:sldChg chg="modSp">
        <pc:chgData name="Anand Prabhu" userId="6c4c423f-d1f2-47b1-99e3-069c840331b4" providerId="ADAL" clId="{08D862B8-D1A3-449B-82FD-18FB89572875}" dt="2020-07-25T06:48:23.952" v="61" actId="20577"/>
        <pc:sldMkLst>
          <pc:docMk/>
          <pc:sldMk cId="293329949" sldId="1724"/>
        </pc:sldMkLst>
        <pc:spChg chg="mod">
          <ac:chgData name="Anand Prabhu" userId="6c4c423f-d1f2-47b1-99e3-069c840331b4" providerId="ADAL" clId="{08D862B8-D1A3-449B-82FD-18FB89572875}" dt="2020-07-25T06:48:23.952" v="61" actId="20577"/>
          <ac:spMkLst>
            <pc:docMk/>
            <pc:sldMk cId="293329949" sldId="1724"/>
            <ac:spMk id="3" creationId="{56C4B2DF-017A-4C85-A6DF-E3FAF102EAF8}"/>
          </ac:spMkLst>
        </pc:spChg>
      </pc:sldChg>
      <pc:sldChg chg="modSp ord">
        <pc:chgData name="Anand Prabhu" userId="6c4c423f-d1f2-47b1-99e3-069c840331b4" providerId="ADAL" clId="{08D862B8-D1A3-449B-82FD-18FB89572875}" dt="2020-07-25T06:48:03.108" v="40" actId="20577"/>
        <pc:sldMkLst>
          <pc:docMk/>
          <pc:sldMk cId="1537084499" sldId="4553"/>
        </pc:sldMkLst>
        <pc:spChg chg="mod">
          <ac:chgData name="Anand Prabhu" userId="6c4c423f-d1f2-47b1-99e3-069c840331b4" providerId="ADAL" clId="{08D862B8-D1A3-449B-82FD-18FB89572875}" dt="2020-07-25T06:48:03.108" v="40" actId="20577"/>
          <ac:spMkLst>
            <pc:docMk/>
            <pc:sldMk cId="1537084499" sldId="4553"/>
            <ac:spMk id="4" creationId="{0CBBCC2F-A72A-4C83-B55B-854D4744619E}"/>
          </ac:spMkLst>
        </pc:spChg>
      </pc:sldChg>
      <pc:sldChg chg="modTransition">
        <pc:chgData name="Anand Prabhu" userId="6c4c423f-d1f2-47b1-99e3-069c840331b4" providerId="ADAL" clId="{08D862B8-D1A3-449B-82FD-18FB89572875}" dt="2020-07-15T04:19:33.786" v="0"/>
        <pc:sldMkLst>
          <pc:docMk/>
          <pc:sldMk cId="2977808609" sldId="4560"/>
        </pc:sldMkLst>
      </pc:sldChg>
      <pc:sldChg chg="addSp modSp add">
        <pc:chgData name="Anand Prabhu" userId="6c4c423f-d1f2-47b1-99e3-069c840331b4" providerId="ADAL" clId="{08D862B8-D1A3-449B-82FD-18FB89572875}" dt="2020-07-25T06:50:32.587" v="82" actId="14100"/>
        <pc:sldMkLst>
          <pc:docMk/>
          <pc:sldMk cId="356255544" sldId="4563"/>
        </pc:sldMkLst>
        <pc:spChg chg="add mod">
          <ac:chgData name="Anand Prabhu" userId="6c4c423f-d1f2-47b1-99e3-069c840331b4" providerId="ADAL" clId="{08D862B8-D1A3-449B-82FD-18FB89572875}" dt="2020-07-25T06:50:05.789" v="66"/>
          <ac:spMkLst>
            <pc:docMk/>
            <pc:sldMk cId="356255544" sldId="4563"/>
            <ac:spMk id="2" creationId="{727E3C03-4E7F-42A6-9D9B-7C20CD5F2C22}"/>
          </ac:spMkLst>
        </pc:spChg>
        <pc:picChg chg="mod">
          <ac:chgData name="Anand Prabhu" userId="6c4c423f-d1f2-47b1-99e3-069c840331b4" providerId="ADAL" clId="{08D862B8-D1A3-449B-82FD-18FB89572875}" dt="2020-07-25T06:50:32.587" v="82" actId="14100"/>
          <ac:picMkLst>
            <pc:docMk/>
            <pc:sldMk cId="356255544" sldId="4563"/>
            <ac:picMk id="3074" creationId="{D7E22DFD-FAF4-43A4-BCDA-1DBD48DAB37A}"/>
          </ac:picMkLst>
        </pc:picChg>
      </pc:sldChg>
      <pc:sldChg chg="addSp add del">
        <pc:chgData name="Anand Prabhu" userId="6c4c423f-d1f2-47b1-99e3-069c840331b4" providerId="ADAL" clId="{08D862B8-D1A3-449B-82FD-18FB89572875}" dt="2020-07-25T06:49:27.972" v="64" actId="2696"/>
        <pc:sldMkLst>
          <pc:docMk/>
          <pc:sldMk cId="2041620164" sldId="4563"/>
        </pc:sldMkLst>
        <pc:picChg chg="add">
          <ac:chgData name="Anand Prabhu" userId="6c4c423f-d1f2-47b1-99e3-069c840331b4" providerId="ADAL" clId="{08D862B8-D1A3-449B-82FD-18FB89572875}" dt="2020-07-25T06:49:09.911" v="63"/>
          <ac:picMkLst>
            <pc:docMk/>
            <pc:sldMk cId="2041620164" sldId="4563"/>
            <ac:picMk id="3074" creationId="{D7E22DFD-FAF4-43A4-BCDA-1DBD48DAB37A}"/>
          </ac:picMkLst>
        </pc:picChg>
      </pc:sldChg>
    </pc:docChg>
  </pc:docChgLst>
  <pc:docChgLst>
    <pc:chgData name="Anand Prabhu" userId="6c4c423f-d1f2-47b1-99e3-069c840331b4" providerId="ADAL" clId="{574E3DEC-6E0C-4945-952A-FFA48F412846}"/>
    <pc:docChg chg="delSld modSection">
      <pc:chgData name="Anand Prabhu" userId="6c4c423f-d1f2-47b1-99e3-069c840331b4" providerId="ADAL" clId="{574E3DEC-6E0C-4945-952A-FFA48F412846}" dt="2021-03-31T10:43:37.229" v="1" actId="47"/>
      <pc:docMkLst>
        <pc:docMk/>
      </pc:docMkLst>
      <pc:sldChg chg="del">
        <pc:chgData name="Anand Prabhu" userId="6c4c423f-d1f2-47b1-99e3-069c840331b4" providerId="ADAL" clId="{574E3DEC-6E0C-4945-952A-FFA48F412846}" dt="2021-03-31T10:43:37.229" v="1" actId="47"/>
        <pc:sldMkLst>
          <pc:docMk/>
          <pc:sldMk cId="1303359920" sldId="257"/>
        </pc:sldMkLst>
      </pc:sldChg>
      <pc:sldChg chg="del">
        <pc:chgData name="Anand Prabhu" userId="6c4c423f-d1f2-47b1-99e3-069c840331b4" providerId="ADAL" clId="{574E3DEC-6E0C-4945-952A-FFA48F412846}" dt="2021-03-31T10:39:43.359" v="0" actId="47"/>
        <pc:sldMkLst>
          <pc:docMk/>
          <pc:sldMk cId="446683251" sldId="259"/>
        </pc:sldMkLst>
      </pc:sldChg>
      <pc:sldChg chg="del">
        <pc:chgData name="Anand Prabhu" userId="6c4c423f-d1f2-47b1-99e3-069c840331b4" providerId="ADAL" clId="{574E3DEC-6E0C-4945-952A-FFA48F412846}" dt="2021-03-31T10:39:43.359" v="0" actId="47"/>
        <pc:sldMkLst>
          <pc:docMk/>
          <pc:sldMk cId="2099232856" sldId="296"/>
        </pc:sldMkLst>
      </pc:sldChg>
      <pc:sldChg chg="del">
        <pc:chgData name="Anand Prabhu" userId="6c4c423f-d1f2-47b1-99e3-069c840331b4" providerId="ADAL" clId="{574E3DEC-6E0C-4945-952A-FFA48F412846}" dt="2021-03-31T10:43:37.229" v="1" actId="47"/>
        <pc:sldMkLst>
          <pc:docMk/>
          <pc:sldMk cId="3604932912" sldId="670"/>
        </pc:sldMkLst>
      </pc:sldChg>
      <pc:sldChg chg="del">
        <pc:chgData name="Anand Prabhu" userId="6c4c423f-d1f2-47b1-99e3-069c840331b4" providerId="ADAL" clId="{574E3DEC-6E0C-4945-952A-FFA48F412846}" dt="2021-03-31T10:39:43.359" v="0" actId="47"/>
        <pc:sldMkLst>
          <pc:docMk/>
          <pc:sldMk cId="4045199007" sldId="679"/>
        </pc:sldMkLst>
      </pc:sldChg>
      <pc:sldChg chg="del">
        <pc:chgData name="Anand Prabhu" userId="6c4c423f-d1f2-47b1-99e3-069c840331b4" providerId="ADAL" clId="{574E3DEC-6E0C-4945-952A-FFA48F412846}" dt="2021-03-31T10:39:43.359" v="0" actId="47"/>
        <pc:sldMkLst>
          <pc:docMk/>
          <pc:sldMk cId="2154481219" sldId="702"/>
        </pc:sldMkLst>
      </pc:sldChg>
      <pc:sldChg chg="del">
        <pc:chgData name="Anand Prabhu" userId="6c4c423f-d1f2-47b1-99e3-069c840331b4" providerId="ADAL" clId="{574E3DEC-6E0C-4945-952A-FFA48F412846}" dt="2021-03-31T10:39:43.359" v="0" actId="47"/>
        <pc:sldMkLst>
          <pc:docMk/>
          <pc:sldMk cId="3438081181" sldId="728"/>
        </pc:sldMkLst>
      </pc:sldChg>
      <pc:sldChg chg="del">
        <pc:chgData name="Anand Prabhu" userId="6c4c423f-d1f2-47b1-99e3-069c840331b4" providerId="ADAL" clId="{574E3DEC-6E0C-4945-952A-FFA48F412846}" dt="2021-03-31T10:43:37.229" v="1" actId="47"/>
        <pc:sldMkLst>
          <pc:docMk/>
          <pc:sldMk cId="2818435884" sldId="732"/>
        </pc:sldMkLst>
      </pc:sldChg>
      <pc:sldChg chg="del">
        <pc:chgData name="Anand Prabhu" userId="6c4c423f-d1f2-47b1-99e3-069c840331b4" providerId="ADAL" clId="{574E3DEC-6E0C-4945-952A-FFA48F412846}" dt="2021-03-31T10:39:43.359" v="0" actId="47"/>
        <pc:sldMkLst>
          <pc:docMk/>
          <pc:sldMk cId="3561417366" sldId="736"/>
        </pc:sldMkLst>
      </pc:sldChg>
      <pc:sldChg chg="del">
        <pc:chgData name="Anand Prabhu" userId="6c4c423f-d1f2-47b1-99e3-069c840331b4" providerId="ADAL" clId="{574E3DEC-6E0C-4945-952A-FFA48F412846}" dt="2021-03-31T10:39:43.359" v="0" actId="47"/>
        <pc:sldMkLst>
          <pc:docMk/>
          <pc:sldMk cId="982234604" sldId="737"/>
        </pc:sldMkLst>
      </pc:sldChg>
      <pc:sldChg chg="del">
        <pc:chgData name="Anand Prabhu" userId="6c4c423f-d1f2-47b1-99e3-069c840331b4" providerId="ADAL" clId="{574E3DEC-6E0C-4945-952A-FFA48F412846}" dt="2021-03-31T10:39:43.359" v="0" actId="47"/>
        <pc:sldMkLst>
          <pc:docMk/>
          <pc:sldMk cId="1567553940" sldId="739"/>
        </pc:sldMkLst>
      </pc:sldChg>
      <pc:sldChg chg="del">
        <pc:chgData name="Anand Prabhu" userId="6c4c423f-d1f2-47b1-99e3-069c840331b4" providerId="ADAL" clId="{574E3DEC-6E0C-4945-952A-FFA48F412846}" dt="2021-03-31T10:39:43.359" v="0" actId="47"/>
        <pc:sldMkLst>
          <pc:docMk/>
          <pc:sldMk cId="1591357489" sldId="744"/>
        </pc:sldMkLst>
      </pc:sldChg>
      <pc:sldChg chg="del">
        <pc:chgData name="Anand Prabhu" userId="6c4c423f-d1f2-47b1-99e3-069c840331b4" providerId="ADAL" clId="{574E3DEC-6E0C-4945-952A-FFA48F412846}" dt="2021-03-31T10:39:43.359" v="0" actId="47"/>
        <pc:sldMkLst>
          <pc:docMk/>
          <pc:sldMk cId="1259475928" sldId="746"/>
        </pc:sldMkLst>
      </pc:sldChg>
      <pc:sldChg chg="del">
        <pc:chgData name="Anand Prabhu" userId="6c4c423f-d1f2-47b1-99e3-069c840331b4" providerId="ADAL" clId="{574E3DEC-6E0C-4945-952A-FFA48F412846}" dt="2021-03-31T10:39:43.359" v="0" actId="47"/>
        <pc:sldMkLst>
          <pc:docMk/>
          <pc:sldMk cId="325675679" sldId="748"/>
        </pc:sldMkLst>
      </pc:sldChg>
      <pc:sldChg chg="del">
        <pc:chgData name="Anand Prabhu" userId="6c4c423f-d1f2-47b1-99e3-069c840331b4" providerId="ADAL" clId="{574E3DEC-6E0C-4945-952A-FFA48F412846}" dt="2021-03-31T10:39:43.359" v="0" actId="47"/>
        <pc:sldMkLst>
          <pc:docMk/>
          <pc:sldMk cId="278505841" sldId="749"/>
        </pc:sldMkLst>
      </pc:sldChg>
      <pc:sldChg chg="del">
        <pc:chgData name="Anand Prabhu" userId="6c4c423f-d1f2-47b1-99e3-069c840331b4" providerId="ADAL" clId="{574E3DEC-6E0C-4945-952A-FFA48F412846}" dt="2021-03-31T10:43:37.229" v="1" actId="47"/>
        <pc:sldMkLst>
          <pc:docMk/>
          <pc:sldMk cId="1802420215" sldId="777"/>
        </pc:sldMkLst>
      </pc:sldChg>
      <pc:sldChg chg="del">
        <pc:chgData name="Anand Prabhu" userId="6c4c423f-d1f2-47b1-99e3-069c840331b4" providerId="ADAL" clId="{574E3DEC-6E0C-4945-952A-FFA48F412846}" dt="2021-03-31T10:43:37.229" v="1" actId="47"/>
        <pc:sldMkLst>
          <pc:docMk/>
          <pc:sldMk cId="2842770800" sldId="778"/>
        </pc:sldMkLst>
      </pc:sldChg>
      <pc:sldChg chg="del">
        <pc:chgData name="Anand Prabhu" userId="6c4c423f-d1f2-47b1-99e3-069c840331b4" providerId="ADAL" clId="{574E3DEC-6E0C-4945-952A-FFA48F412846}" dt="2021-03-31T10:43:37.229" v="1" actId="47"/>
        <pc:sldMkLst>
          <pc:docMk/>
          <pc:sldMk cId="1197708568" sldId="779"/>
        </pc:sldMkLst>
      </pc:sldChg>
      <pc:sldChg chg="del">
        <pc:chgData name="Anand Prabhu" userId="6c4c423f-d1f2-47b1-99e3-069c840331b4" providerId="ADAL" clId="{574E3DEC-6E0C-4945-952A-FFA48F412846}" dt="2021-03-31T10:43:37.229" v="1" actId="47"/>
        <pc:sldMkLst>
          <pc:docMk/>
          <pc:sldMk cId="152384711" sldId="780"/>
        </pc:sldMkLst>
      </pc:sldChg>
      <pc:sldChg chg="del">
        <pc:chgData name="Anand Prabhu" userId="6c4c423f-d1f2-47b1-99e3-069c840331b4" providerId="ADAL" clId="{574E3DEC-6E0C-4945-952A-FFA48F412846}" dt="2021-03-31T10:43:37.229" v="1" actId="47"/>
        <pc:sldMkLst>
          <pc:docMk/>
          <pc:sldMk cId="1197497591" sldId="781"/>
        </pc:sldMkLst>
      </pc:sldChg>
      <pc:sldChg chg="del">
        <pc:chgData name="Anand Prabhu" userId="6c4c423f-d1f2-47b1-99e3-069c840331b4" providerId="ADAL" clId="{574E3DEC-6E0C-4945-952A-FFA48F412846}" dt="2021-03-31T10:43:37.229" v="1" actId="47"/>
        <pc:sldMkLst>
          <pc:docMk/>
          <pc:sldMk cId="4048037440" sldId="782"/>
        </pc:sldMkLst>
      </pc:sldChg>
      <pc:sldChg chg="del">
        <pc:chgData name="Anand Prabhu" userId="6c4c423f-d1f2-47b1-99e3-069c840331b4" providerId="ADAL" clId="{574E3DEC-6E0C-4945-952A-FFA48F412846}" dt="2021-03-31T10:43:37.229" v="1" actId="47"/>
        <pc:sldMkLst>
          <pc:docMk/>
          <pc:sldMk cId="723145865" sldId="784"/>
        </pc:sldMkLst>
      </pc:sldChg>
      <pc:sldChg chg="del">
        <pc:chgData name="Anand Prabhu" userId="6c4c423f-d1f2-47b1-99e3-069c840331b4" providerId="ADAL" clId="{574E3DEC-6E0C-4945-952A-FFA48F412846}" dt="2021-03-31T10:43:37.229" v="1" actId="47"/>
        <pc:sldMkLst>
          <pc:docMk/>
          <pc:sldMk cId="1272676977" sldId="788"/>
        </pc:sldMkLst>
      </pc:sldChg>
      <pc:sldChg chg="del">
        <pc:chgData name="Anand Prabhu" userId="6c4c423f-d1f2-47b1-99e3-069c840331b4" providerId="ADAL" clId="{574E3DEC-6E0C-4945-952A-FFA48F412846}" dt="2021-03-31T10:39:43.359" v="0" actId="47"/>
        <pc:sldMkLst>
          <pc:docMk/>
          <pc:sldMk cId="725283395" sldId="1413"/>
        </pc:sldMkLst>
      </pc:sldChg>
      <pc:sldChg chg="del">
        <pc:chgData name="Anand Prabhu" userId="6c4c423f-d1f2-47b1-99e3-069c840331b4" providerId="ADAL" clId="{574E3DEC-6E0C-4945-952A-FFA48F412846}" dt="2021-03-31T10:43:37.229" v="1" actId="47"/>
        <pc:sldMkLst>
          <pc:docMk/>
          <pc:sldMk cId="1541843553" sldId="1499"/>
        </pc:sldMkLst>
      </pc:sldChg>
      <pc:sldChg chg="del">
        <pc:chgData name="Anand Prabhu" userId="6c4c423f-d1f2-47b1-99e3-069c840331b4" providerId="ADAL" clId="{574E3DEC-6E0C-4945-952A-FFA48F412846}" dt="2021-03-31T10:43:37.229" v="1" actId="47"/>
        <pc:sldMkLst>
          <pc:docMk/>
          <pc:sldMk cId="3617002096" sldId="1500"/>
        </pc:sldMkLst>
      </pc:sldChg>
      <pc:sldChg chg="del">
        <pc:chgData name="Anand Prabhu" userId="6c4c423f-d1f2-47b1-99e3-069c840331b4" providerId="ADAL" clId="{574E3DEC-6E0C-4945-952A-FFA48F412846}" dt="2021-03-31T10:43:37.229" v="1" actId="47"/>
        <pc:sldMkLst>
          <pc:docMk/>
          <pc:sldMk cId="2094705218" sldId="1501"/>
        </pc:sldMkLst>
      </pc:sldChg>
      <pc:sldChg chg="del">
        <pc:chgData name="Anand Prabhu" userId="6c4c423f-d1f2-47b1-99e3-069c840331b4" providerId="ADAL" clId="{574E3DEC-6E0C-4945-952A-FFA48F412846}" dt="2021-03-31T10:43:37.229" v="1" actId="47"/>
        <pc:sldMkLst>
          <pc:docMk/>
          <pc:sldMk cId="536167537" sldId="1503"/>
        </pc:sldMkLst>
      </pc:sldChg>
      <pc:sldChg chg="del">
        <pc:chgData name="Anand Prabhu" userId="6c4c423f-d1f2-47b1-99e3-069c840331b4" providerId="ADAL" clId="{574E3DEC-6E0C-4945-952A-FFA48F412846}" dt="2021-03-31T10:43:37.229" v="1" actId="47"/>
        <pc:sldMkLst>
          <pc:docMk/>
          <pc:sldMk cId="2062427706" sldId="1676"/>
        </pc:sldMkLst>
      </pc:sldChg>
      <pc:sldChg chg="del">
        <pc:chgData name="Anand Prabhu" userId="6c4c423f-d1f2-47b1-99e3-069c840331b4" providerId="ADAL" clId="{574E3DEC-6E0C-4945-952A-FFA48F412846}" dt="2021-03-31T10:43:37.229" v="1" actId="47"/>
        <pc:sldMkLst>
          <pc:docMk/>
          <pc:sldMk cId="4229789639" sldId="1678"/>
        </pc:sldMkLst>
      </pc:sldChg>
      <pc:sldChg chg="del">
        <pc:chgData name="Anand Prabhu" userId="6c4c423f-d1f2-47b1-99e3-069c840331b4" providerId="ADAL" clId="{574E3DEC-6E0C-4945-952A-FFA48F412846}" dt="2021-03-31T10:43:37.229" v="1" actId="47"/>
        <pc:sldMkLst>
          <pc:docMk/>
          <pc:sldMk cId="1088515597" sldId="1680"/>
        </pc:sldMkLst>
      </pc:sldChg>
      <pc:sldChg chg="del">
        <pc:chgData name="Anand Prabhu" userId="6c4c423f-d1f2-47b1-99e3-069c840331b4" providerId="ADAL" clId="{574E3DEC-6E0C-4945-952A-FFA48F412846}" dt="2021-03-31T10:43:37.229" v="1" actId="47"/>
        <pc:sldMkLst>
          <pc:docMk/>
          <pc:sldMk cId="3497686151" sldId="1681"/>
        </pc:sldMkLst>
      </pc:sldChg>
      <pc:sldChg chg="del">
        <pc:chgData name="Anand Prabhu" userId="6c4c423f-d1f2-47b1-99e3-069c840331b4" providerId="ADAL" clId="{574E3DEC-6E0C-4945-952A-FFA48F412846}" dt="2021-03-31T10:43:37.229" v="1" actId="47"/>
        <pc:sldMkLst>
          <pc:docMk/>
          <pc:sldMk cId="278392685" sldId="1684"/>
        </pc:sldMkLst>
      </pc:sldChg>
      <pc:sldChg chg="del">
        <pc:chgData name="Anand Prabhu" userId="6c4c423f-d1f2-47b1-99e3-069c840331b4" providerId="ADAL" clId="{574E3DEC-6E0C-4945-952A-FFA48F412846}" dt="2021-03-31T10:43:37.229" v="1" actId="47"/>
        <pc:sldMkLst>
          <pc:docMk/>
          <pc:sldMk cId="437033319" sldId="1706"/>
        </pc:sldMkLst>
      </pc:sldChg>
      <pc:sldChg chg="del">
        <pc:chgData name="Anand Prabhu" userId="6c4c423f-d1f2-47b1-99e3-069c840331b4" providerId="ADAL" clId="{574E3DEC-6E0C-4945-952A-FFA48F412846}" dt="2021-03-31T10:43:37.229" v="1" actId="47"/>
        <pc:sldMkLst>
          <pc:docMk/>
          <pc:sldMk cId="978927063" sldId="1707"/>
        </pc:sldMkLst>
      </pc:sldChg>
      <pc:sldChg chg="del">
        <pc:chgData name="Anand Prabhu" userId="6c4c423f-d1f2-47b1-99e3-069c840331b4" providerId="ADAL" clId="{574E3DEC-6E0C-4945-952A-FFA48F412846}" dt="2021-03-31T10:43:37.229" v="1" actId="47"/>
        <pc:sldMkLst>
          <pc:docMk/>
          <pc:sldMk cId="1132358825" sldId="1708"/>
        </pc:sldMkLst>
      </pc:sldChg>
      <pc:sldChg chg="del">
        <pc:chgData name="Anand Prabhu" userId="6c4c423f-d1f2-47b1-99e3-069c840331b4" providerId="ADAL" clId="{574E3DEC-6E0C-4945-952A-FFA48F412846}" dt="2021-03-31T10:43:37.229" v="1" actId="47"/>
        <pc:sldMkLst>
          <pc:docMk/>
          <pc:sldMk cId="3026653889" sldId="1712"/>
        </pc:sldMkLst>
      </pc:sldChg>
      <pc:sldChg chg="del">
        <pc:chgData name="Anand Prabhu" userId="6c4c423f-d1f2-47b1-99e3-069c840331b4" providerId="ADAL" clId="{574E3DEC-6E0C-4945-952A-FFA48F412846}" dt="2021-03-31T10:43:37.229" v="1" actId="47"/>
        <pc:sldMkLst>
          <pc:docMk/>
          <pc:sldMk cId="2816930418" sldId="1721"/>
        </pc:sldMkLst>
      </pc:sldChg>
      <pc:sldChg chg="del">
        <pc:chgData name="Anand Prabhu" userId="6c4c423f-d1f2-47b1-99e3-069c840331b4" providerId="ADAL" clId="{574E3DEC-6E0C-4945-952A-FFA48F412846}" dt="2021-03-31T10:43:37.229" v="1" actId="47"/>
        <pc:sldMkLst>
          <pc:docMk/>
          <pc:sldMk cId="3132768654" sldId="1722"/>
        </pc:sldMkLst>
      </pc:sldChg>
      <pc:sldChg chg="del">
        <pc:chgData name="Anand Prabhu" userId="6c4c423f-d1f2-47b1-99e3-069c840331b4" providerId="ADAL" clId="{574E3DEC-6E0C-4945-952A-FFA48F412846}" dt="2021-03-31T10:43:37.229" v="1" actId="47"/>
        <pc:sldMkLst>
          <pc:docMk/>
          <pc:sldMk cId="937551889" sldId="1723"/>
        </pc:sldMkLst>
      </pc:sldChg>
      <pc:sldChg chg="del">
        <pc:chgData name="Anand Prabhu" userId="6c4c423f-d1f2-47b1-99e3-069c840331b4" providerId="ADAL" clId="{574E3DEC-6E0C-4945-952A-FFA48F412846}" dt="2021-03-31T10:39:43.359" v="0" actId="47"/>
        <pc:sldMkLst>
          <pc:docMk/>
          <pc:sldMk cId="886129732" sldId="4485"/>
        </pc:sldMkLst>
      </pc:sldChg>
      <pc:sldChg chg="del">
        <pc:chgData name="Anand Prabhu" userId="6c4c423f-d1f2-47b1-99e3-069c840331b4" providerId="ADAL" clId="{574E3DEC-6E0C-4945-952A-FFA48F412846}" dt="2021-03-31T10:39:43.359" v="0" actId="47"/>
        <pc:sldMkLst>
          <pc:docMk/>
          <pc:sldMk cId="4133487147" sldId="4539"/>
        </pc:sldMkLst>
      </pc:sldChg>
      <pc:sldChg chg="del">
        <pc:chgData name="Anand Prabhu" userId="6c4c423f-d1f2-47b1-99e3-069c840331b4" providerId="ADAL" clId="{574E3DEC-6E0C-4945-952A-FFA48F412846}" dt="2021-03-31T10:39:43.359" v="0" actId="47"/>
        <pc:sldMkLst>
          <pc:docMk/>
          <pc:sldMk cId="79418590" sldId="4544"/>
        </pc:sldMkLst>
      </pc:sldChg>
      <pc:sldChg chg="del">
        <pc:chgData name="Anand Prabhu" userId="6c4c423f-d1f2-47b1-99e3-069c840331b4" providerId="ADAL" clId="{574E3DEC-6E0C-4945-952A-FFA48F412846}" dt="2021-03-31T10:43:37.229" v="1" actId="47"/>
        <pc:sldMkLst>
          <pc:docMk/>
          <pc:sldMk cId="3513949734" sldId="4550"/>
        </pc:sldMkLst>
      </pc:sldChg>
      <pc:sldChg chg="del">
        <pc:chgData name="Anand Prabhu" userId="6c4c423f-d1f2-47b1-99e3-069c840331b4" providerId="ADAL" clId="{574E3DEC-6E0C-4945-952A-FFA48F412846}" dt="2021-03-31T10:43:37.229" v="1" actId="47"/>
        <pc:sldMkLst>
          <pc:docMk/>
          <pc:sldMk cId="2561398617" sldId="4551"/>
        </pc:sldMkLst>
      </pc:sldChg>
      <pc:sldChg chg="del">
        <pc:chgData name="Anand Prabhu" userId="6c4c423f-d1f2-47b1-99e3-069c840331b4" providerId="ADAL" clId="{574E3DEC-6E0C-4945-952A-FFA48F412846}" dt="2021-03-31T10:39:43.359" v="0" actId="47"/>
        <pc:sldMkLst>
          <pc:docMk/>
          <pc:sldMk cId="255522928" sldId="4552"/>
        </pc:sldMkLst>
      </pc:sldChg>
      <pc:sldChg chg="del">
        <pc:chgData name="Anand Prabhu" userId="6c4c423f-d1f2-47b1-99e3-069c840331b4" providerId="ADAL" clId="{574E3DEC-6E0C-4945-952A-FFA48F412846}" dt="2021-03-31T10:39:43.359" v="0" actId="47"/>
        <pc:sldMkLst>
          <pc:docMk/>
          <pc:sldMk cId="1537084499" sldId="4553"/>
        </pc:sldMkLst>
      </pc:sldChg>
      <pc:sldChg chg="del">
        <pc:chgData name="Anand Prabhu" userId="6c4c423f-d1f2-47b1-99e3-069c840331b4" providerId="ADAL" clId="{574E3DEC-6E0C-4945-952A-FFA48F412846}" dt="2021-03-31T10:43:37.229" v="1" actId="47"/>
        <pc:sldMkLst>
          <pc:docMk/>
          <pc:sldMk cId="3532437932" sldId="4556"/>
        </pc:sldMkLst>
      </pc:sldChg>
      <pc:sldChg chg="del">
        <pc:chgData name="Anand Prabhu" userId="6c4c423f-d1f2-47b1-99e3-069c840331b4" providerId="ADAL" clId="{574E3DEC-6E0C-4945-952A-FFA48F412846}" dt="2021-03-31T10:43:37.229" v="1" actId="47"/>
        <pc:sldMkLst>
          <pc:docMk/>
          <pc:sldMk cId="3701357678" sldId="4557"/>
        </pc:sldMkLst>
      </pc:sldChg>
      <pc:sldChg chg="del">
        <pc:chgData name="Anand Prabhu" userId="6c4c423f-d1f2-47b1-99e3-069c840331b4" providerId="ADAL" clId="{574E3DEC-6E0C-4945-952A-FFA48F412846}" dt="2021-03-31T10:43:37.229" v="1" actId="47"/>
        <pc:sldMkLst>
          <pc:docMk/>
          <pc:sldMk cId="3620474651" sldId="4558"/>
        </pc:sldMkLst>
      </pc:sldChg>
      <pc:sldChg chg="del">
        <pc:chgData name="Anand Prabhu" userId="6c4c423f-d1f2-47b1-99e3-069c840331b4" providerId="ADAL" clId="{574E3DEC-6E0C-4945-952A-FFA48F412846}" dt="2021-03-31T10:39:43.359" v="0" actId="47"/>
        <pc:sldMkLst>
          <pc:docMk/>
          <pc:sldMk cId="951388135" sldId="4559"/>
        </pc:sldMkLst>
      </pc:sldChg>
      <pc:sldChg chg="del">
        <pc:chgData name="Anand Prabhu" userId="6c4c423f-d1f2-47b1-99e3-069c840331b4" providerId="ADAL" clId="{574E3DEC-6E0C-4945-952A-FFA48F412846}" dt="2021-03-31T10:43:37.229" v="1" actId="47"/>
        <pc:sldMkLst>
          <pc:docMk/>
          <pc:sldMk cId="2977808609" sldId="4560"/>
        </pc:sldMkLst>
      </pc:sldChg>
      <pc:sldChg chg="del">
        <pc:chgData name="Anand Prabhu" userId="6c4c423f-d1f2-47b1-99e3-069c840331b4" providerId="ADAL" clId="{574E3DEC-6E0C-4945-952A-FFA48F412846}" dt="2021-03-31T10:39:43.359" v="0" actId="47"/>
        <pc:sldMkLst>
          <pc:docMk/>
          <pc:sldMk cId="3358274151" sldId="4561"/>
        </pc:sldMkLst>
      </pc:sldChg>
      <pc:sldChg chg="del">
        <pc:chgData name="Anand Prabhu" userId="6c4c423f-d1f2-47b1-99e3-069c840331b4" providerId="ADAL" clId="{574E3DEC-6E0C-4945-952A-FFA48F412846}" dt="2021-03-31T10:39:43.359" v="0" actId="47"/>
        <pc:sldMkLst>
          <pc:docMk/>
          <pc:sldMk cId="553738937" sldId="4562"/>
        </pc:sldMkLst>
      </pc:sldChg>
      <pc:sldChg chg="del">
        <pc:chgData name="Anand Prabhu" userId="6c4c423f-d1f2-47b1-99e3-069c840331b4" providerId="ADAL" clId="{574E3DEC-6E0C-4945-952A-FFA48F412846}" dt="2021-03-31T10:39:43.359" v="0" actId="47"/>
        <pc:sldMkLst>
          <pc:docMk/>
          <pc:sldMk cId="356255544" sldId="4563"/>
        </pc:sldMkLst>
      </pc:sldChg>
      <pc:sldMasterChg chg="delSldLayout">
        <pc:chgData name="Anand Prabhu" userId="6c4c423f-d1f2-47b1-99e3-069c840331b4" providerId="ADAL" clId="{574E3DEC-6E0C-4945-952A-FFA48F412846}" dt="2021-03-31T10:43:37.229" v="1" actId="47"/>
        <pc:sldMasterMkLst>
          <pc:docMk/>
          <pc:sldMasterMk cId="3362795782" sldId="2147483786"/>
        </pc:sldMasterMkLst>
        <pc:sldLayoutChg chg="del">
          <pc:chgData name="Anand Prabhu" userId="6c4c423f-d1f2-47b1-99e3-069c840331b4" providerId="ADAL" clId="{574E3DEC-6E0C-4945-952A-FFA48F412846}" dt="2021-03-31T10:43:37.229" v="1" actId="47"/>
          <pc:sldLayoutMkLst>
            <pc:docMk/>
            <pc:sldMasterMk cId="3362795782" sldId="2147483786"/>
            <pc:sldLayoutMk cId="3176521527" sldId="2147483802"/>
          </pc:sldLayoutMkLst>
        </pc:sldLayoutChg>
        <pc:sldLayoutChg chg="del">
          <pc:chgData name="Anand Prabhu" userId="6c4c423f-d1f2-47b1-99e3-069c840331b4" providerId="ADAL" clId="{574E3DEC-6E0C-4945-952A-FFA48F412846}" dt="2021-03-31T10:43:37.229" v="1" actId="47"/>
          <pc:sldLayoutMkLst>
            <pc:docMk/>
            <pc:sldMasterMk cId="3362795782" sldId="2147483786"/>
            <pc:sldLayoutMk cId="2690581653" sldId="2147483809"/>
          </pc:sldLayoutMkLst>
        </pc:sldLayoutChg>
        <pc:sldLayoutChg chg="del">
          <pc:chgData name="Anand Prabhu" userId="6c4c423f-d1f2-47b1-99e3-069c840331b4" providerId="ADAL" clId="{574E3DEC-6E0C-4945-952A-FFA48F412846}" dt="2021-03-31T10:43:37.229" v="1" actId="47"/>
          <pc:sldLayoutMkLst>
            <pc:docMk/>
            <pc:sldMasterMk cId="3362795782" sldId="2147483786"/>
            <pc:sldLayoutMk cId="459621260" sldId="2147483810"/>
          </pc:sldLayoutMkLst>
        </pc:sldLayoutChg>
        <pc:sldLayoutChg chg="del">
          <pc:chgData name="Anand Prabhu" userId="6c4c423f-d1f2-47b1-99e3-069c840331b4" providerId="ADAL" clId="{574E3DEC-6E0C-4945-952A-FFA48F412846}" dt="2021-03-31T10:39:43.359" v="0" actId="47"/>
          <pc:sldLayoutMkLst>
            <pc:docMk/>
            <pc:sldMasterMk cId="3362795782" sldId="2147483786"/>
            <pc:sldLayoutMk cId="2184379175" sldId="2147483812"/>
          </pc:sldLayoutMkLst>
        </pc:sldLayoutChg>
        <pc:sldLayoutChg chg="del">
          <pc:chgData name="Anand Prabhu" userId="6c4c423f-d1f2-47b1-99e3-069c840331b4" providerId="ADAL" clId="{574E3DEC-6E0C-4945-952A-FFA48F412846}" dt="2021-03-31T10:43:37.229" v="1" actId="47"/>
          <pc:sldLayoutMkLst>
            <pc:docMk/>
            <pc:sldMasterMk cId="3362795782" sldId="2147483786"/>
            <pc:sldLayoutMk cId="269415547" sldId="2147483813"/>
          </pc:sldLayoutMkLst>
        </pc:sldLayoutChg>
      </pc:sldMasterChg>
    </pc:docChg>
  </pc:docChgLst>
  <pc:docChgLst>
    <pc:chgData name="Anand Prabhu" userId="6c4c423f-d1f2-47b1-99e3-069c840331b4" providerId="ADAL" clId="{407BBD3C-1B86-4C8F-B216-865FC2E31A5C}"/>
    <pc:docChg chg="undo custSel addSld delSld modSld modSection">
      <pc:chgData name="Anand Prabhu" userId="6c4c423f-d1f2-47b1-99e3-069c840331b4" providerId="ADAL" clId="{407BBD3C-1B86-4C8F-B216-865FC2E31A5C}" dt="2020-05-28T09:01:58.825" v="147" actId="20577"/>
      <pc:docMkLst>
        <pc:docMk/>
      </pc:docMkLst>
      <pc:sldChg chg="add del">
        <pc:chgData name="Anand Prabhu" userId="6c4c423f-d1f2-47b1-99e3-069c840331b4" providerId="ADAL" clId="{407BBD3C-1B86-4C8F-B216-865FC2E31A5C}" dt="2020-05-28T08:48:46.167" v="6" actId="2696"/>
        <pc:sldMkLst>
          <pc:docMk/>
          <pc:sldMk cId="1091943013" sldId="732"/>
        </pc:sldMkLst>
      </pc:sldChg>
      <pc:sldChg chg="add modTransition">
        <pc:chgData name="Anand Prabhu" userId="6c4c423f-d1f2-47b1-99e3-069c840331b4" providerId="ADAL" clId="{407BBD3C-1B86-4C8F-B216-865FC2E31A5C}" dt="2020-05-28T08:54:27.808" v="86"/>
        <pc:sldMkLst>
          <pc:docMk/>
          <pc:sldMk cId="2818435884" sldId="732"/>
        </pc:sldMkLst>
      </pc:sldChg>
      <pc:sldChg chg="add del">
        <pc:chgData name="Anand Prabhu" userId="6c4c423f-d1f2-47b1-99e3-069c840331b4" providerId="ADAL" clId="{407BBD3C-1B86-4C8F-B216-865FC2E31A5C}" dt="2020-05-28T08:48:46.137" v="5" actId="2696"/>
        <pc:sldMkLst>
          <pc:docMk/>
          <pc:sldMk cId="302464287" sldId="777"/>
        </pc:sldMkLst>
      </pc:sldChg>
      <pc:sldChg chg="add modTransition">
        <pc:chgData name="Anand Prabhu" userId="6c4c423f-d1f2-47b1-99e3-069c840331b4" providerId="ADAL" clId="{407BBD3C-1B86-4C8F-B216-865FC2E31A5C}" dt="2020-05-28T08:54:27.808" v="86"/>
        <pc:sldMkLst>
          <pc:docMk/>
          <pc:sldMk cId="1802420215" sldId="777"/>
        </pc:sldMkLst>
      </pc:sldChg>
      <pc:sldChg chg="add modTransition">
        <pc:chgData name="Anand Prabhu" userId="6c4c423f-d1f2-47b1-99e3-069c840331b4" providerId="ADAL" clId="{407BBD3C-1B86-4C8F-B216-865FC2E31A5C}" dt="2020-05-28T08:54:27.808" v="86"/>
        <pc:sldMkLst>
          <pc:docMk/>
          <pc:sldMk cId="2842770800" sldId="778"/>
        </pc:sldMkLst>
      </pc:sldChg>
      <pc:sldChg chg="add del">
        <pc:chgData name="Anand Prabhu" userId="6c4c423f-d1f2-47b1-99e3-069c840331b4" providerId="ADAL" clId="{407BBD3C-1B86-4C8F-B216-865FC2E31A5C}" dt="2020-05-28T08:48:46.028" v="2" actId="2696"/>
        <pc:sldMkLst>
          <pc:docMk/>
          <pc:sldMk cId="3201623893" sldId="778"/>
        </pc:sldMkLst>
      </pc:sldChg>
      <pc:sldChg chg="add modTransition">
        <pc:chgData name="Anand Prabhu" userId="6c4c423f-d1f2-47b1-99e3-069c840331b4" providerId="ADAL" clId="{407BBD3C-1B86-4C8F-B216-865FC2E31A5C}" dt="2020-05-28T08:54:27.808" v="86"/>
        <pc:sldMkLst>
          <pc:docMk/>
          <pc:sldMk cId="1197708568" sldId="779"/>
        </pc:sldMkLst>
      </pc:sldChg>
      <pc:sldChg chg="add del">
        <pc:chgData name="Anand Prabhu" userId="6c4c423f-d1f2-47b1-99e3-069c840331b4" providerId="ADAL" clId="{407BBD3C-1B86-4C8F-B216-865FC2E31A5C}" dt="2020-05-28T08:48:46.090" v="4" actId="2696"/>
        <pc:sldMkLst>
          <pc:docMk/>
          <pc:sldMk cId="2166777094" sldId="779"/>
        </pc:sldMkLst>
      </pc:sldChg>
      <pc:sldChg chg="add modTransition">
        <pc:chgData name="Anand Prabhu" userId="6c4c423f-d1f2-47b1-99e3-069c840331b4" providerId="ADAL" clId="{407BBD3C-1B86-4C8F-B216-865FC2E31A5C}" dt="2020-05-28T08:54:27.808" v="86"/>
        <pc:sldMkLst>
          <pc:docMk/>
          <pc:sldMk cId="152384711" sldId="780"/>
        </pc:sldMkLst>
      </pc:sldChg>
      <pc:sldChg chg="add del">
        <pc:chgData name="Anand Prabhu" userId="6c4c423f-d1f2-47b1-99e3-069c840331b4" providerId="ADAL" clId="{407BBD3C-1B86-4C8F-B216-865FC2E31A5C}" dt="2020-05-28T08:48:46.218" v="7" actId="2696"/>
        <pc:sldMkLst>
          <pc:docMk/>
          <pc:sldMk cId="3323346506" sldId="780"/>
        </pc:sldMkLst>
      </pc:sldChg>
      <pc:sldChg chg="add del">
        <pc:chgData name="Anand Prabhu" userId="6c4c423f-d1f2-47b1-99e3-069c840331b4" providerId="ADAL" clId="{407BBD3C-1B86-4C8F-B216-865FC2E31A5C}" dt="2020-05-28T08:48:46.246" v="8" actId="2696"/>
        <pc:sldMkLst>
          <pc:docMk/>
          <pc:sldMk cId="465129241" sldId="781"/>
        </pc:sldMkLst>
      </pc:sldChg>
      <pc:sldChg chg="modSp add modTransition">
        <pc:chgData name="Anand Prabhu" userId="6c4c423f-d1f2-47b1-99e3-069c840331b4" providerId="ADAL" clId="{407BBD3C-1B86-4C8F-B216-865FC2E31A5C}" dt="2020-05-28T08:54:27.808" v="86"/>
        <pc:sldMkLst>
          <pc:docMk/>
          <pc:sldMk cId="1197497591" sldId="781"/>
        </pc:sldMkLst>
        <pc:spChg chg="mod">
          <ac:chgData name="Anand Prabhu" userId="6c4c423f-d1f2-47b1-99e3-069c840331b4" providerId="ADAL" clId="{407BBD3C-1B86-4C8F-B216-865FC2E31A5C}" dt="2020-05-28T08:51:47.839" v="74" actId="1035"/>
          <ac:spMkLst>
            <pc:docMk/>
            <pc:sldMk cId="1197497591" sldId="781"/>
            <ac:spMk id="3" creationId="{64D2C276-3478-4910-95F7-91867B6AADB8}"/>
          </ac:spMkLst>
        </pc:spChg>
      </pc:sldChg>
      <pc:sldChg chg="add del">
        <pc:chgData name="Anand Prabhu" userId="6c4c423f-d1f2-47b1-99e3-069c840331b4" providerId="ADAL" clId="{407BBD3C-1B86-4C8F-B216-865FC2E31A5C}" dt="2020-05-28T08:48:46.270" v="9" actId="2696"/>
        <pc:sldMkLst>
          <pc:docMk/>
          <pc:sldMk cId="1394282831" sldId="782"/>
        </pc:sldMkLst>
      </pc:sldChg>
      <pc:sldChg chg="add modTransition">
        <pc:chgData name="Anand Prabhu" userId="6c4c423f-d1f2-47b1-99e3-069c840331b4" providerId="ADAL" clId="{407BBD3C-1B86-4C8F-B216-865FC2E31A5C}" dt="2020-05-28T08:54:27.808" v="86"/>
        <pc:sldMkLst>
          <pc:docMk/>
          <pc:sldMk cId="4048037440" sldId="782"/>
        </pc:sldMkLst>
      </pc:sldChg>
      <pc:sldChg chg="add modTransition">
        <pc:chgData name="Anand Prabhu" userId="6c4c423f-d1f2-47b1-99e3-069c840331b4" providerId="ADAL" clId="{407BBD3C-1B86-4C8F-B216-865FC2E31A5C}" dt="2020-05-28T08:54:27.808" v="86"/>
        <pc:sldMkLst>
          <pc:docMk/>
          <pc:sldMk cId="723145865" sldId="784"/>
        </pc:sldMkLst>
      </pc:sldChg>
      <pc:sldChg chg="add del">
        <pc:chgData name="Anand Prabhu" userId="6c4c423f-d1f2-47b1-99e3-069c840331b4" providerId="ADAL" clId="{407BBD3C-1B86-4C8F-B216-865FC2E31A5C}" dt="2020-05-28T08:48:46.298" v="10" actId="2696"/>
        <pc:sldMkLst>
          <pc:docMk/>
          <pc:sldMk cId="2901642100" sldId="784"/>
        </pc:sldMkLst>
      </pc:sldChg>
      <pc:sldChg chg="del">
        <pc:chgData name="Anand Prabhu" userId="6c4c423f-d1f2-47b1-99e3-069c840331b4" providerId="ADAL" clId="{407BBD3C-1B86-4C8F-B216-865FC2E31A5C}" dt="2020-05-28T08:48:46.324" v="11" actId="2696"/>
        <pc:sldMkLst>
          <pc:docMk/>
          <pc:sldMk cId="246492512" sldId="788"/>
        </pc:sldMkLst>
      </pc:sldChg>
      <pc:sldChg chg="add modTransition">
        <pc:chgData name="Anand Prabhu" userId="6c4c423f-d1f2-47b1-99e3-069c840331b4" providerId="ADAL" clId="{407BBD3C-1B86-4C8F-B216-865FC2E31A5C}" dt="2020-05-28T08:54:33.737" v="87"/>
        <pc:sldMkLst>
          <pc:docMk/>
          <pc:sldMk cId="1272676977" sldId="788"/>
        </pc:sldMkLst>
      </pc:sldChg>
      <pc:sldChg chg="modSp">
        <pc:chgData name="Anand Prabhu" userId="6c4c423f-d1f2-47b1-99e3-069c840331b4" providerId="ADAL" clId="{407BBD3C-1B86-4C8F-B216-865FC2E31A5C}" dt="2020-05-28T08:57:18.697" v="94" actId="20577"/>
        <pc:sldMkLst>
          <pc:docMk/>
          <pc:sldMk cId="3846560943" sldId="1715"/>
        </pc:sldMkLst>
        <pc:spChg chg="mod">
          <ac:chgData name="Anand Prabhu" userId="6c4c423f-d1f2-47b1-99e3-069c840331b4" providerId="ADAL" clId="{407BBD3C-1B86-4C8F-B216-865FC2E31A5C}" dt="2020-05-28T08:57:18.697" v="94" actId="20577"/>
          <ac:spMkLst>
            <pc:docMk/>
            <pc:sldMk cId="3846560943" sldId="1715"/>
            <ac:spMk id="13" creationId="{00000000-0000-0000-0000-000000000000}"/>
          </ac:spMkLst>
        </pc:spChg>
      </pc:sldChg>
      <pc:sldChg chg="add modTransition">
        <pc:chgData name="Anand Prabhu" userId="6c4c423f-d1f2-47b1-99e3-069c840331b4" providerId="ADAL" clId="{407BBD3C-1B86-4C8F-B216-865FC2E31A5C}" dt="2020-05-28T08:54:27.808" v="86"/>
        <pc:sldMkLst>
          <pc:docMk/>
          <pc:sldMk cId="2816930418" sldId="1721"/>
        </pc:sldMkLst>
      </pc:sldChg>
      <pc:sldChg chg="add del">
        <pc:chgData name="Anand Prabhu" userId="6c4c423f-d1f2-47b1-99e3-069c840331b4" providerId="ADAL" clId="{407BBD3C-1B86-4C8F-B216-865FC2E31A5C}" dt="2020-05-28T08:48:46.060" v="3" actId="2696"/>
        <pc:sldMkLst>
          <pc:docMk/>
          <pc:sldMk cId="3193827469" sldId="1721"/>
        </pc:sldMkLst>
      </pc:sldChg>
      <pc:sldChg chg="add modTransition">
        <pc:chgData name="Anand Prabhu" userId="6c4c423f-d1f2-47b1-99e3-069c840331b4" providerId="ADAL" clId="{407BBD3C-1B86-4C8F-B216-865FC2E31A5C}" dt="2020-05-28T09:01:05" v="98"/>
        <pc:sldMkLst>
          <pc:docMk/>
          <pc:sldMk cId="886129732" sldId="4485"/>
        </pc:sldMkLst>
      </pc:sldChg>
      <pc:sldChg chg="addSp delSp modSp">
        <pc:chgData name="Anand Prabhu" userId="6c4c423f-d1f2-47b1-99e3-069c840331b4" providerId="ADAL" clId="{407BBD3C-1B86-4C8F-B216-865FC2E31A5C}" dt="2020-05-28T09:01:58.825" v="147" actId="20577"/>
        <pc:sldMkLst>
          <pc:docMk/>
          <pc:sldMk cId="255522928" sldId="4552"/>
        </pc:sldMkLst>
        <pc:spChg chg="mod">
          <ac:chgData name="Anand Prabhu" userId="6c4c423f-d1f2-47b1-99e3-069c840331b4" providerId="ADAL" clId="{407BBD3C-1B86-4C8F-B216-865FC2E31A5C}" dt="2020-05-28T09:01:42.761" v="121" actId="20577"/>
          <ac:spMkLst>
            <pc:docMk/>
            <pc:sldMk cId="255522928" sldId="4552"/>
            <ac:spMk id="4" creationId="{0CBBCC2F-A72A-4C83-B55B-854D4744619E}"/>
          </ac:spMkLst>
        </pc:spChg>
        <pc:spChg chg="mod">
          <ac:chgData name="Anand Prabhu" userId="6c4c423f-d1f2-47b1-99e3-069c840331b4" providerId="ADAL" clId="{407BBD3C-1B86-4C8F-B216-865FC2E31A5C}" dt="2020-05-28T09:01:58.825" v="147" actId="20577"/>
          <ac:spMkLst>
            <pc:docMk/>
            <pc:sldMk cId="255522928" sldId="4552"/>
            <ac:spMk id="5" creationId="{309F469F-455A-45B1-A682-1C40A1BBBC5A}"/>
          </ac:spMkLst>
        </pc:spChg>
        <pc:spChg chg="add del">
          <ac:chgData name="Anand Prabhu" userId="6c4c423f-d1f2-47b1-99e3-069c840331b4" providerId="ADAL" clId="{407BBD3C-1B86-4C8F-B216-865FC2E31A5C}" dt="2020-05-28T09:00:09.395" v="96"/>
          <ac:spMkLst>
            <pc:docMk/>
            <pc:sldMk cId="255522928" sldId="4552"/>
            <ac:spMk id="6" creationId="{EA3303E1-CDC4-4937-82A4-8BF13AB43D17}"/>
          </ac:spMkLst>
        </pc:spChg>
      </pc:sldChg>
      <pc:sldChg chg="modSp add modTransition">
        <pc:chgData name="Anand Prabhu" userId="6c4c423f-d1f2-47b1-99e3-069c840331b4" providerId="ADAL" clId="{407BBD3C-1B86-4C8F-B216-865FC2E31A5C}" dt="2020-05-28T08:54:27.808" v="86"/>
        <pc:sldMkLst>
          <pc:docMk/>
          <pc:sldMk cId="2977808609" sldId="4560"/>
        </pc:sldMkLst>
        <pc:spChg chg="mod">
          <ac:chgData name="Anand Prabhu" userId="6c4c423f-d1f2-47b1-99e3-069c840331b4" providerId="ADAL" clId="{407BBD3C-1B86-4C8F-B216-865FC2E31A5C}" dt="2020-05-28T08:51:20.560" v="57" actId="20577"/>
          <ac:spMkLst>
            <pc:docMk/>
            <pc:sldMk cId="2977808609" sldId="4560"/>
            <ac:spMk id="4" creationId="{0CBBCC2F-A72A-4C83-B55B-854D4744619E}"/>
          </ac:spMkLst>
        </pc:spChg>
      </pc:sldChg>
      <pc:sldChg chg="add del">
        <pc:chgData name="Anand Prabhu" userId="6c4c423f-d1f2-47b1-99e3-069c840331b4" providerId="ADAL" clId="{407BBD3C-1B86-4C8F-B216-865FC2E31A5C}" dt="2020-05-28T08:48:54.082" v="13" actId="2696"/>
        <pc:sldMkLst>
          <pc:docMk/>
          <pc:sldMk cId="3343923735" sldId="4560"/>
        </pc:sldMkLst>
      </pc:sldChg>
      <pc:sldChg chg="add del">
        <pc:chgData name="Anand Prabhu" userId="6c4c423f-d1f2-47b1-99e3-069c840331b4" providerId="ADAL" clId="{407BBD3C-1B86-4C8F-B216-865FC2E31A5C}" dt="2020-05-28T08:50:37.730" v="16"/>
        <pc:sldMkLst>
          <pc:docMk/>
          <pc:sldMk cId="3662854349" sldId="4560"/>
        </pc:sldMkLst>
      </pc:sldChg>
      <pc:sldChg chg="add del">
        <pc:chgData name="Anand Prabhu" userId="6c4c423f-d1f2-47b1-99e3-069c840331b4" providerId="ADAL" clId="{407BBD3C-1B86-4C8F-B216-865FC2E31A5C}" dt="2020-05-28T08:50:37.730" v="16"/>
        <pc:sldMkLst>
          <pc:docMk/>
          <pc:sldMk cId="38486639" sldId="4561"/>
        </pc:sldMkLst>
      </pc:sldChg>
      <pc:sldChg chg="add modTransition">
        <pc:chgData name="Anand Prabhu" userId="6c4c423f-d1f2-47b1-99e3-069c840331b4" providerId="ADAL" clId="{407BBD3C-1B86-4C8F-B216-865FC2E31A5C}" dt="2020-05-28T09:00:19.360" v="97"/>
        <pc:sldMkLst>
          <pc:docMk/>
          <pc:sldMk cId="3358274151" sldId="4561"/>
        </pc:sldMkLst>
      </pc:sldChg>
      <pc:sldChg chg="add">
        <pc:chgData name="Anand Prabhu" userId="6c4c423f-d1f2-47b1-99e3-069c840331b4" providerId="ADAL" clId="{407BBD3C-1B86-4C8F-B216-865FC2E31A5C}" dt="2020-05-28T09:01:15.903" v="99"/>
        <pc:sldMkLst>
          <pc:docMk/>
          <pc:sldMk cId="553738937" sldId="4562"/>
        </pc:sldMkLst>
      </pc:sldChg>
      <pc:sldChg chg="add del">
        <pc:chgData name="Anand Prabhu" userId="6c4c423f-d1f2-47b1-99e3-069c840331b4" providerId="ADAL" clId="{407BBD3C-1B86-4C8F-B216-865FC2E31A5C}" dt="2020-05-28T08:50:37.730" v="16"/>
        <pc:sldMkLst>
          <pc:docMk/>
          <pc:sldMk cId="568582851" sldId="4562"/>
        </pc:sldMkLst>
      </pc:sldChg>
      <pc:sldChg chg="add del">
        <pc:chgData name="Anand Prabhu" userId="6c4c423f-d1f2-47b1-99e3-069c840331b4" providerId="ADAL" clId="{407BBD3C-1B86-4C8F-B216-865FC2E31A5C}" dt="2020-05-28T08:50:37.730" v="16"/>
        <pc:sldMkLst>
          <pc:docMk/>
          <pc:sldMk cId="2490157729" sldId="4563"/>
        </pc:sldMkLst>
      </pc:sldChg>
      <pc:sldChg chg="add del">
        <pc:chgData name="Anand Prabhu" userId="6c4c423f-d1f2-47b1-99e3-069c840331b4" providerId="ADAL" clId="{407BBD3C-1B86-4C8F-B216-865FC2E31A5C}" dt="2020-05-28T08:50:37.730" v="16"/>
        <pc:sldMkLst>
          <pc:docMk/>
          <pc:sldMk cId="2173469247" sldId="4564"/>
        </pc:sldMkLst>
      </pc:sldChg>
      <pc:sldChg chg="add del">
        <pc:chgData name="Anand Prabhu" userId="6c4c423f-d1f2-47b1-99e3-069c840331b4" providerId="ADAL" clId="{407BBD3C-1B86-4C8F-B216-865FC2E31A5C}" dt="2020-05-28T08:50:37.730" v="16"/>
        <pc:sldMkLst>
          <pc:docMk/>
          <pc:sldMk cId="1622500529" sldId="4565"/>
        </pc:sldMkLst>
      </pc:sldChg>
      <pc:sldChg chg="add del">
        <pc:chgData name="Anand Prabhu" userId="6c4c423f-d1f2-47b1-99e3-069c840331b4" providerId="ADAL" clId="{407BBD3C-1B86-4C8F-B216-865FC2E31A5C}" dt="2020-05-28T08:50:37.730" v="16"/>
        <pc:sldMkLst>
          <pc:docMk/>
          <pc:sldMk cId="3373542276" sldId="4566"/>
        </pc:sldMkLst>
      </pc:sldChg>
      <pc:sldChg chg="add del">
        <pc:chgData name="Anand Prabhu" userId="6c4c423f-d1f2-47b1-99e3-069c840331b4" providerId="ADAL" clId="{407BBD3C-1B86-4C8F-B216-865FC2E31A5C}" dt="2020-05-28T08:50:37.730" v="16"/>
        <pc:sldMkLst>
          <pc:docMk/>
          <pc:sldMk cId="2363907448" sldId="4567"/>
        </pc:sldMkLst>
      </pc:sldChg>
      <pc:sldChg chg="add del">
        <pc:chgData name="Anand Prabhu" userId="6c4c423f-d1f2-47b1-99e3-069c840331b4" providerId="ADAL" clId="{407BBD3C-1B86-4C8F-B216-865FC2E31A5C}" dt="2020-05-28T08:50:37.730" v="16"/>
        <pc:sldMkLst>
          <pc:docMk/>
          <pc:sldMk cId="3482558559" sldId="4568"/>
        </pc:sldMkLst>
      </pc:sldChg>
      <pc:sldChg chg="add del">
        <pc:chgData name="Anand Prabhu" userId="6c4c423f-d1f2-47b1-99e3-069c840331b4" providerId="ADAL" clId="{407BBD3C-1B86-4C8F-B216-865FC2E31A5C}" dt="2020-05-28T08:50:37.730" v="16"/>
        <pc:sldMkLst>
          <pc:docMk/>
          <pc:sldMk cId="2541227575" sldId="4569"/>
        </pc:sldMkLst>
      </pc:sldChg>
      <pc:sldMasterChg chg="delSldLayout">
        <pc:chgData name="Anand Prabhu" userId="6c4c423f-d1f2-47b1-99e3-069c840331b4" providerId="ADAL" clId="{407BBD3C-1B86-4C8F-B216-865FC2E31A5C}" dt="2020-05-28T08:48:46.325" v="12" actId="2696"/>
        <pc:sldMasterMkLst>
          <pc:docMk/>
          <pc:sldMasterMk cId="3362795782" sldId="2147483786"/>
        </pc:sldMasterMkLst>
        <pc:sldLayoutChg chg="del">
          <pc:chgData name="Anand Prabhu" userId="6c4c423f-d1f2-47b1-99e3-069c840331b4" providerId="ADAL" clId="{407BBD3C-1B86-4C8F-B216-865FC2E31A5C}" dt="2020-05-28T08:48:46.325" v="12" actId="2696"/>
          <pc:sldLayoutMkLst>
            <pc:docMk/>
            <pc:sldMasterMk cId="3362795782" sldId="2147483786"/>
            <pc:sldLayoutMk cId="232526341" sldId="2147483811"/>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AE8FA-D7B2-4534-825C-89895736491D}" type="datetimeFigureOut">
              <a:rPr lang="en-US" smtClean="0"/>
              <a:t>3/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194323-46EB-47FD-802B-1151F9FD2B5B}" type="slidenum">
              <a:rPr lang="en-US" smtClean="0"/>
              <a:t>‹#›</a:t>
            </a:fld>
            <a:endParaRPr lang="en-US"/>
          </a:p>
        </p:txBody>
      </p:sp>
    </p:spTree>
    <p:extLst>
      <p:ext uri="{BB962C8B-B14F-4D97-AF65-F5344CB8AC3E}">
        <p14:creationId xmlns:p14="http://schemas.microsoft.com/office/powerpoint/2010/main" val="2023717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8891BDF-1689-4797-9CE0-509F56E95BE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2185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442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31/2021 4: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699810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4072D0DE-015F-4ED8-AF25-3BD34BCFD3B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7671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solidFill>
                <a:srgbClr val="FFFFFF">
                  <a:lumMod val="65000"/>
                </a:srgbClr>
              </a:soli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31/2021 4: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171503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5194323-46EB-47FD-802B-1151F9FD2B5B}" type="slidenum">
              <a:rPr lang="en-US" smtClean="0"/>
              <a:t>2</a:t>
            </a:fld>
            <a:endParaRPr lang="en-US"/>
          </a:p>
        </p:txBody>
      </p:sp>
    </p:spTree>
    <p:extLst>
      <p:ext uri="{BB962C8B-B14F-4D97-AF65-F5344CB8AC3E}">
        <p14:creationId xmlns:p14="http://schemas.microsoft.com/office/powerpoint/2010/main" val="502474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12813" eaLnBrk="0" fontAlgn="base" hangingPunct="0">
              <a:spcBef>
                <a:spcPct val="0"/>
              </a:spcBef>
              <a:spcAft>
                <a:spcPct val="0"/>
              </a:spcAft>
              <a:defRPr/>
            </a:pPr>
            <a:r>
              <a:rPr lang="en-US" altLang="en-US" sz="40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mtClean="0">
                <a:solidFill>
                  <a:prstClr val="black"/>
                </a:solidFill>
                <a:ea typeface="MS PGothic" panose="020B0600070205080204" pitchFamily="34" charset="-128"/>
              </a:rPr>
              <a:pPr defTabSz="931863" fontAlgn="base">
                <a:spcBef>
                  <a:spcPct val="0"/>
                </a:spcBef>
                <a:spcAft>
                  <a:spcPct val="0"/>
                </a:spcAft>
                <a:defRPr/>
              </a:pPr>
              <a:t>3/31/2021 4:11 PM</a:t>
            </a:fld>
            <a:endParaRPr lang="en-US" altLang="en-US">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mtClean="0">
                <a:solidFill>
                  <a:prstClr val="black"/>
                </a:solidFill>
                <a:ea typeface="MS PGothic" panose="020B0600070205080204" pitchFamily="34" charset="-128"/>
              </a:rPr>
              <a:pPr defTabSz="931863" fontAlgn="base">
                <a:spcBef>
                  <a:spcPct val="0"/>
                </a:spcBef>
                <a:spcAft>
                  <a:spcPct val="0"/>
                </a:spcAft>
                <a:defRPr/>
              </a:pPr>
              <a:t>4</a:t>
            </a:fld>
            <a:endParaRPr lang="en-US" altLang="en-US">
              <a:solidFill>
                <a:prstClr val="black"/>
              </a:solidFill>
              <a:ea typeface="MS PGothic" panose="020B0600070205080204" pitchFamily="34" charset="-128"/>
            </a:endParaRPr>
          </a:p>
        </p:txBody>
      </p:sp>
    </p:spTree>
    <p:extLst>
      <p:ext uri="{BB962C8B-B14F-4D97-AF65-F5344CB8AC3E}">
        <p14:creationId xmlns:p14="http://schemas.microsoft.com/office/powerpoint/2010/main" val="1670641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64CFA94A-519F-445C-B30C-9E76FA6A2031}" type="datetime8">
              <a:rPr lang="en-US" sz="1800" kern="0" smtClean="0">
                <a:solidFill>
                  <a:prstClr val="black"/>
                </a:solidFill>
              </a:rPr>
              <a:pPr>
                <a:defRPr/>
              </a:pPr>
              <a:t>3/31/2021 4:11 P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5</a:t>
            </a:fld>
            <a:endParaRPr lang="en-US" sz="1800" kern="0" dirty="0">
              <a:solidFill>
                <a:prstClr val="black"/>
              </a:solidFill>
            </a:endParaRPr>
          </a:p>
        </p:txBody>
      </p:sp>
    </p:spTree>
    <p:extLst>
      <p:ext uri="{BB962C8B-B14F-4D97-AF65-F5344CB8AC3E}">
        <p14:creationId xmlns:p14="http://schemas.microsoft.com/office/powerpoint/2010/main" val="3635017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73C5F31-7ED9-4B00-86AA-8C757CF4DFFE}" type="slidenum">
              <a:rPr lang="en-US" sz="1800" kern="0" smtClean="0">
                <a:solidFill>
                  <a:sysClr val="windowText" lastClr="000000"/>
                </a:solidFill>
              </a:rPr>
              <a:pPr>
                <a:defRPr/>
              </a:pPr>
              <a:t>6</a:t>
            </a:fld>
            <a:endParaRPr lang="en-US" sz="1800" kern="0">
              <a:solidFill>
                <a:sysClr val="windowText" lastClr="000000"/>
              </a:solidFill>
            </a:endParaRPr>
          </a:p>
        </p:txBody>
      </p:sp>
    </p:spTree>
    <p:extLst>
      <p:ext uri="{BB962C8B-B14F-4D97-AF65-F5344CB8AC3E}">
        <p14:creationId xmlns:p14="http://schemas.microsoft.com/office/powerpoint/2010/main" val="3185075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238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1/2021 4:1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914911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4A2D47A-AB90-4D7F-A5D1-DD87367CC34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41518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2890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29503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5097000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222364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50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587134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39641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3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51155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852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175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4"/>
            <a:ext cx="11655078"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940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387" y="0"/>
            <a:ext cx="12208388" cy="6858000"/>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69989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18961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64907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6433730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4419574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23039540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178463573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92039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41860486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49593253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398292" y="3812779"/>
            <a:ext cx="8311487" cy="1019174"/>
          </a:xfrm>
        </p:spPr>
        <p:txBody>
          <a:bodyPr anchor="b">
            <a:normAutofit/>
          </a:bodyPr>
          <a:lstStyle>
            <a:lvl1pPr algn="ctr">
              <a:defRPr sz="4800">
                <a:solidFill>
                  <a:schemeClr val="tx1">
                    <a:lumMod val="50000"/>
                    <a:lumOff val="50000"/>
                  </a:schemeClr>
                </a:solidFill>
                <a:latin typeface="Segoe UI Light" panose="020B0502040204020203" pitchFamily="34" charset="0"/>
              </a:defRPr>
            </a:lvl1pPr>
          </a:lstStyle>
          <a:p>
            <a:r>
              <a:rPr lang="en-US"/>
              <a:t>Click to edit Master title style</a:t>
            </a:r>
          </a:p>
        </p:txBody>
      </p:sp>
      <p:sp>
        <p:nvSpPr>
          <p:cNvPr id="3" name="Subtitle 2"/>
          <p:cNvSpPr>
            <a:spLocks noGrp="1"/>
          </p:cNvSpPr>
          <p:nvPr>
            <p:ph type="subTitle" idx="1"/>
          </p:nvPr>
        </p:nvSpPr>
        <p:spPr>
          <a:xfrm>
            <a:off x="3398292" y="5151110"/>
            <a:ext cx="8311486" cy="969005"/>
          </a:xfrm>
        </p:spPr>
        <p:txBody>
          <a:bodyPr anchor="ctr"/>
          <a:lstStyle>
            <a:lvl1pPr marL="0" indent="0" algn="ctr">
              <a:buNone/>
              <a:defRPr sz="2400">
                <a:solidFill>
                  <a:srgbClr val="0070C0"/>
                </a:solidFill>
                <a:latin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39534" y="6341473"/>
            <a:ext cx="2743200" cy="365125"/>
          </a:xfrm>
        </p:spPr>
        <p:txBody>
          <a:bodyPr/>
          <a:lstStyle/>
          <a:p>
            <a:fld id="{D8AD1322-8C57-468B-83EA-78284625AF84}" type="slidenum">
              <a:rPr lang="en-US" smtClean="0"/>
              <a:t>‹#›</a:t>
            </a:fld>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256725" y="218364"/>
            <a:ext cx="3030816" cy="6414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398292" y="4995081"/>
            <a:ext cx="840804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326610" y="1366347"/>
            <a:ext cx="5767316" cy="646331"/>
          </a:xfrm>
          <a:prstGeom prst="rect">
            <a:avLst/>
          </a:prstGeom>
        </p:spPr>
        <p:txBody>
          <a:bodyPr wrap="square">
            <a:spAutoFit/>
          </a:bodyPr>
          <a:lstStyle/>
          <a:p>
            <a:pPr algn="ctr"/>
            <a:r>
              <a:rPr lang="en-US" sz="3600" dirty="0">
                <a:solidFill>
                  <a:schemeClr val="tx1">
                    <a:lumMod val="50000"/>
                    <a:lumOff val="50000"/>
                  </a:schemeClr>
                </a:solidFill>
                <a:latin typeface="Segoe UI Light" panose="020B0502040204020203" pitchFamily="34" charset="0"/>
              </a:rPr>
              <a:t>Accelerate Modernization</a:t>
            </a:r>
          </a:p>
        </p:txBody>
      </p:sp>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8704" y="2958487"/>
            <a:ext cx="4693266" cy="632934"/>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21424" y="424483"/>
            <a:ext cx="3184909" cy="2855436"/>
          </a:xfrm>
          <a:prstGeom prst="rect">
            <a:avLst/>
          </a:prstGeom>
        </p:spPr>
      </p:pic>
      <p:sp>
        <p:nvSpPr>
          <p:cNvPr id="8" name="Rectangle 7"/>
          <p:cNvSpPr/>
          <p:nvPr/>
        </p:nvSpPr>
        <p:spPr>
          <a:xfrm>
            <a:off x="5663661" y="1925748"/>
            <a:ext cx="3070649" cy="323165"/>
          </a:xfrm>
          <a:prstGeom prst="rect">
            <a:avLst/>
          </a:prstGeom>
        </p:spPr>
        <p:txBody>
          <a:bodyPr wrap="none">
            <a:spAutoFit/>
          </a:bodyPr>
          <a:lstStyle/>
          <a:p>
            <a:pPr algn="ctr"/>
            <a:r>
              <a:rPr lang="en-US" sz="1500" b="0" dirty="0">
                <a:solidFill>
                  <a:srgbClr val="0070C0"/>
                </a:solidFill>
                <a:latin typeface="Segoe UI" panose="020B0502040204020203" pitchFamily="34" charset="0"/>
                <a:ea typeface="Segoe UI" panose="020B0502040204020203" pitchFamily="34" charset="0"/>
                <a:cs typeface="Segoe UI" panose="020B0502040204020203" pitchFamily="34" charset="0"/>
              </a:rPr>
              <a:t>Social . Mobility . Analytics</a:t>
            </a:r>
            <a:r>
              <a:rPr lang="en-US" sz="1500" b="0" baseline="0" dirty="0">
                <a:solidFill>
                  <a:srgbClr val="0070C0"/>
                </a:solidFill>
                <a:latin typeface="Segoe UI" panose="020B0502040204020203" pitchFamily="34" charset="0"/>
                <a:ea typeface="Segoe UI" panose="020B0502040204020203" pitchFamily="34" charset="0"/>
                <a:cs typeface="Segoe UI" panose="020B0502040204020203" pitchFamily="34" charset="0"/>
              </a:rPr>
              <a:t> . Cloud</a:t>
            </a:r>
            <a:endParaRPr lang="en-US" sz="1500" b="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9126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785" y="365125"/>
            <a:ext cx="11382233" cy="767639"/>
          </a:xfrm>
        </p:spPr>
        <p:txBody>
          <a:bodyPr>
            <a:normAutofit/>
          </a:bodyPr>
          <a:lstStyle>
            <a:lvl1pPr>
              <a:defRPr sz="2400">
                <a:solidFill>
                  <a:srgbClr val="0070C0"/>
                </a:solidFill>
                <a:latin typeface="Segoe UI Semibold" panose="020B07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Content Placeholder 2"/>
          <p:cNvSpPr>
            <a:spLocks noGrp="1"/>
          </p:cNvSpPr>
          <p:nvPr>
            <p:ph idx="1"/>
          </p:nvPr>
        </p:nvSpPr>
        <p:spPr>
          <a:xfrm>
            <a:off x="395785" y="1443897"/>
            <a:ext cx="11382233" cy="5045554"/>
          </a:xfrm>
        </p:spPr>
        <p:txBody>
          <a:bodyPr>
            <a:normAutofit/>
          </a:bodyPr>
          <a:lstStyle>
            <a:lvl1pPr>
              <a:defRPr sz="24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245660"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281684"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827001" y="313900"/>
            <a:ext cx="5073845" cy="2478445"/>
            <a:chOff x="6635933" y="200380"/>
            <a:chExt cx="5073845" cy="2478445"/>
          </a:xfrm>
        </p:grpSpPr>
        <p:sp>
          <p:nvSpPr>
            <p:cNvPr id="14" name="Rectangle: Rounded Corners 13"/>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7059" y="297516"/>
            <a:ext cx="3189796" cy="430176"/>
          </a:xfrm>
          <a:prstGeom prst="rect">
            <a:avLst/>
          </a:prstGeom>
        </p:spPr>
      </p:pic>
      <p:grpSp>
        <p:nvGrpSpPr>
          <p:cNvPr id="30" name="Group 29"/>
          <p:cNvGrpSpPr/>
          <p:nvPr/>
        </p:nvGrpSpPr>
        <p:grpSpPr>
          <a:xfrm>
            <a:off x="10530273" y="5880370"/>
            <a:ext cx="1301885" cy="606738"/>
            <a:chOff x="10717834" y="5953476"/>
            <a:chExt cx="1051094" cy="489858"/>
          </a:xfrm>
        </p:grpSpPr>
        <p:sp>
          <p:nvSpPr>
            <p:cNvPr id="31" name="Oval 30"/>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Slide Number Placeholder 5"/>
          <p:cNvSpPr>
            <a:spLocks noGrp="1"/>
          </p:cNvSpPr>
          <p:nvPr>
            <p:ph type="sldNum" sz="quarter" idx="12"/>
          </p:nvPr>
        </p:nvSpPr>
        <p:spPr>
          <a:xfrm>
            <a:off x="9088958" y="6247025"/>
            <a:ext cx="2743200" cy="365125"/>
          </a:xfrm>
        </p:spPr>
        <p:txBody>
          <a:bodyPr/>
          <a:lstStyle>
            <a:lvl1pPr>
              <a:defRPr>
                <a:solidFill>
                  <a:schemeClr val="bg1"/>
                </a:solidFill>
              </a:defRPr>
            </a:lvl1pPr>
          </a:lstStyle>
          <a:p>
            <a:fld id="{D8AD1322-8C57-468B-83EA-78284625AF84}" type="slidenum">
              <a:rPr lang="en-US" smtClean="0"/>
              <a:t>‹#›</a:t>
            </a:fld>
            <a:endParaRPr lang="en-US"/>
          </a:p>
        </p:txBody>
      </p:sp>
      <p:pic>
        <p:nvPicPr>
          <p:cNvPr id="42" name="Picture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586" y="3398294"/>
            <a:ext cx="11877780" cy="3305596"/>
          </a:xfrm>
          <a:prstGeom prst="rect">
            <a:avLst/>
          </a:prstGeom>
        </p:spPr>
      </p:pic>
      <p:sp>
        <p:nvSpPr>
          <p:cNvPr id="43" name="Rectangle 42"/>
          <p:cNvSpPr/>
          <p:nvPr/>
        </p:nvSpPr>
        <p:spPr>
          <a:xfrm>
            <a:off x="281097" y="6073254"/>
            <a:ext cx="6024169" cy="473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281" y="6154349"/>
            <a:ext cx="5704653" cy="378141"/>
          </a:xfrm>
          <a:prstGeom prst="rect">
            <a:avLst/>
          </a:prstGeom>
        </p:spPr>
      </p:pic>
    </p:spTree>
    <p:extLst>
      <p:ext uri="{BB962C8B-B14F-4D97-AF65-F5344CB8AC3E}">
        <p14:creationId xmlns:p14="http://schemas.microsoft.com/office/powerpoint/2010/main" val="349898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4784252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39236" y="365125"/>
            <a:ext cx="8338782" cy="767639"/>
          </a:xfrm>
        </p:spPr>
        <p:txBody>
          <a:bodyPr>
            <a:normAutofit/>
          </a:bodyPr>
          <a:lstStyle>
            <a:lvl1pPr>
              <a:defRPr sz="2400">
                <a:solidFill>
                  <a:srgbClr val="0070C0"/>
                </a:solidFill>
                <a:latin typeface="Segoe UI Semibold" panose="020B07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Content Placeholder 2"/>
          <p:cNvSpPr>
            <a:spLocks noGrp="1"/>
          </p:cNvSpPr>
          <p:nvPr>
            <p:ph idx="1"/>
          </p:nvPr>
        </p:nvSpPr>
        <p:spPr>
          <a:xfrm>
            <a:off x="3439236" y="1443897"/>
            <a:ext cx="8338782" cy="5045554"/>
          </a:xfrm>
        </p:spPr>
        <p:txBody>
          <a:bodyPr>
            <a:normAutofit/>
          </a:bodyPr>
          <a:lstStyle>
            <a:lvl1pPr>
              <a:defRPr sz="24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2811446"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847470"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827001" y="313900"/>
            <a:ext cx="5073845" cy="2478445"/>
            <a:chOff x="6635933" y="200380"/>
            <a:chExt cx="5073845" cy="2478445"/>
          </a:xfrm>
        </p:grpSpPr>
        <p:sp>
          <p:nvSpPr>
            <p:cNvPr id="14" name="Rectangle: Rounded Corners 13"/>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p:cNvSpPr/>
          <p:nvPr/>
        </p:nvSpPr>
        <p:spPr>
          <a:xfrm>
            <a:off x="255621" y="218364"/>
            <a:ext cx="3030816" cy="6414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7059" y="297516"/>
            <a:ext cx="3189796" cy="430176"/>
          </a:xfrm>
          <a:prstGeom prst="rect">
            <a:avLst/>
          </a:prstGeom>
        </p:spPr>
      </p:pic>
      <p:sp>
        <p:nvSpPr>
          <p:cNvPr id="6" name="Slide Number Placeholder 5"/>
          <p:cNvSpPr>
            <a:spLocks noGrp="1"/>
          </p:cNvSpPr>
          <p:nvPr>
            <p:ph type="sldNum" sz="quarter" idx="12"/>
          </p:nvPr>
        </p:nvSpPr>
        <p:spPr>
          <a:xfrm>
            <a:off x="9104965" y="6255092"/>
            <a:ext cx="2743200" cy="365125"/>
          </a:xfrm>
        </p:spPr>
        <p:txBody>
          <a:bodyPr/>
          <a:lstStyle>
            <a:lvl1pPr>
              <a:defRPr>
                <a:solidFill>
                  <a:schemeClr val="bg1"/>
                </a:solidFill>
                <a:latin typeface="Segoe UI Semibold" panose="020B0702040204020203" pitchFamily="34" charset="0"/>
              </a:defRPr>
            </a:lvl1pPr>
          </a:lstStyle>
          <a:p>
            <a:fld id="{D8AD1322-8C57-468B-83EA-78284625AF84}" type="slidenum">
              <a:rPr lang="en-US" smtClean="0"/>
              <a:t>‹#›</a:t>
            </a:fld>
            <a:endParaRPr lang="en-US"/>
          </a:p>
        </p:txBody>
      </p:sp>
      <p:grpSp>
        <p:nvGrpSpPr>
          <p:cNvPr id="31" name="Group 30"/>
          <p:cNvGrpSpPr/>
          <p:nvPr/>
        </p:nvGrpSpPr>
        <p:grpSpPr>
          <a:xfrm>
            <a:off x="10530273" y="5880370"/>
            <a:ext cx="1301885" cy="606738"/>
            <a:chOff x="10717834" y="5953476"/>
            <a:chExt cx="1051094" cy="489858"/>
          </a:xfrm>
        </p:grpSpPr>
        <p:sp>
          <p:nvSpPr>
            <p:cNvPr id="32" name="Oval 31"/>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4" name="Straight Connector 43"/>
          <p:cNvCxnSpPr/>
          <p:nvPr/>
        </p:nvCxnSpPr>
        <p:spPr>
          <a:xfrm>
            <a:off x="10319554" y="179130"/>
            <a:ext cx="0" cy="671154"/>
          </a:xfrm>
          <a:prstGeom prst="line">
            <a:avLst/>
          </a:prstGeom>
          <a:ln>
            <a:solidFill>
              <a:schemeClr val="bg1"/>
            </a:solidFill>
          </a:ln>
        </p:spPr>
        <p:style>
          <a:lnRef idx="1">
            <a:schemeClr val="accent3"/>
          </a:lnRef>
          <a:fillRef idx="0">
            <a:schemeClr val="accent3"/>
          </a:fillRef>
          <a:effectRef idx="0">
            <a:schemeClr val="accent3"/>
          </a:effectRef>
          <a:fontRef idx="minor">
            <a:schemeClr val="tx1"/>
          </a:fontRef>
        </p:style>
      </p:cxnSp>
      <p:pic>
        <p:nvPicPr>
          <p:cNvPr id="48" name="Picture 47"/>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363187" y="4142472"/>
            <a:ext cx="2646289" cy="2372535"/>
          </a:xfrm>
          <a:prstGeom prst="rect">
            <a:avLst/>
          </a:prstGeom>
        </p:spPr>
      </p:pic>
    </p:spTree>
    <p:extLst>
      <p:ext uri="{BB962C8B-B14F-4D97-AF65-F5344CB8AC3E}">
        <p14:creationId xmlns:p14="http://schemas.microsoft.com/office/powerpoint/2010/main" val="77627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3" name="Rectangle 22"/>
          <p:cNvSpPr/>
          <p:nvPr/>
        </p:nvSpPr>
        <p:spPr>
          <a:xfrm>
            <a:off x="254974" y="4032574"/>
            <a:ext cx="11723425" cy="25959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1850" y="1709738"/>
            <a:ext cx="10515600" cy="2284973"/>
          </a:xfrm>
        </p:spPr>
        <p:txBody>
          <a:bodyPr anchor="ctr">
            <a:normAutofit/>
          </a:bodyPr>
          <a:lstStyle>
            <a:lvl1pPr algn="ctr">
              <a:defRPr sz="4400">
                <a:solidFill>
                  <a:schemeClr val="tx1">
                    <a:lumMod val="65000"/>
                    <a:lumOff val="35000"/>
                  </a:schemeClr>
                </a:solidFill>
                <a:latin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nchor="ctr"/>
          <a:lstStyle>
            <a:lvl1pPr marL="0" indent="0" algn="ctr">
              <a:buNone/>
              <a:defRPr sz="2400">
                <a:solidFill>
                  <a:schemeClr val="bg1"/>
                </a:solidFill>
                <a:latin typeface="Segoe UI Semibold" panose="020B07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036992" y="6220194"/>
            <a:ext cx="2743200" cy="365125"/>
          </a:xfrm>
        </p:spPr>
        <p:txBody>
          <a:bodyPr/>
          <a:lstStyle>
            <a:lvl1pPr>
              <a:defRPr>
                <a:solidFill>
                  <a:schemeClr val="bg1"/>
                </a:solidFill>
              </a:defRPr>
            </a:lvl1pPr>
          </a:lstStyle>
          <a:p>
            <a:fld id="{D8AD1322-8C57-468B-83EA-78284625AF84}" type="slidenum">
              <a:rPr lang="en-US" smtClean="0"/>
              <a:t>‹#›</a:t>
            </a:fld>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6827001" y="313900"/>
            <a:ext cx="5073845" cy="2478445"/>
            <a:chOff x="6635933" y="200380"/>
            <a:chExt cx="5073845" cy="2478445"/>
          </a:xfrm>
        </p:grpSpPr>
        <p:sp>
          <p:nvSpPr>
            <p:cNvPr id="9" name="Rectangle: Rounded Corners 8"/>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97516"/>
            <a:ext cx="3189796" cy="430176"/>
          </a:xfrm>
          <a:prstGeom prst="rect">
            <a:avLst/>
          </a:prstGeom>
        </p:spPr>
      </p:pic>
      <p:sp>
        <p:nvSpPr>
          <p:cNvPr id="27" name="Rectangle 26"/>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10588218" y="3721982"/>
            <a:ext cx="1301885" cy="606738"/>
            <a:chOff x="10717834" y="5953476"/>
            <a:chExt cx="1051094" cy="489858"/>
          </a:xfrm>
        </p:grpSpPr>
        <p:sp>
          <p:nvSpPr>
            <p:cNvPr id="29" name="Oval 28"/>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9336822" y="4416462"/>
            <a:ext cx="2165918" cy="1941858"/>
          </a:xfrm>
          <a:prstGeom prst="rect">
            <a:avLst/>
          </a:prstGeom>
        </p:spPr>
      </p:pic>
    </p:spTree>
    <p:extLst>
      <p:ext uri="{BB962C8B-B14F-4D97-AF65-F5344CB8AC3E}">
        <p14:creationId xmlns:p14="http://schemas.microsoft.com/office/powerpoint/2010/main" val="370586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8" name="Rectangle 7"/>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40366"/>
            <a:ext cx="3189796" cy="430176"/>
          </a:xfrm>
          <a:prstGeom prst="rect">
            <a:avLst/>
          </a:prstGeom>
        </p:spPr>
      </p:pic>
      <p:sp>
        <p:nvSpPr>
          <p:cNvPr id="10" name="Rectangle 9"/>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10530273" y="5880370"/>
            <a:ext cx="1301885" cy="606738"/>
            <a:chOff x="10717834" y="5953476"/>
            <a:chExt cx="1051094" cy="489858"/>
          </a:xfrm>
        </p:grpSpPr>
        <p:sp>
          <p:nvSpPr>
            <p:cNvPr id="14" name="Oval 13"/>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Slide Number Placeholder 6"/>
          <p:cNvSpPr>
            <a:spLocks noGrp="1"/>
          </p:cNvSpPr>
          <p:nvPr>
            <p:ph type="sldNum" sz="quarter" idx="12"/>
          </p:nvPr>
        </p:nvSpPr>
        <p:spPr>
          <a:xfrm>
            <a:off x="9088958" y="6247025"/>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76492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09C4FE2-AE5C-415E-B144-E5678787832C}" type="datetimeFigureOut">
              <a:rPr lang="en-US" smtClean="0"/>
              <a:t>3/31/2021</a:t>
            </a:fld>
            <a:endParaRPr lang="en-US"/>
          </a:p>
        </p:txBody>
      </p:sp>
      <p:sp>
        <p:nvSpPr>
          <p:cNvPr id="8" name="Footer Placeholder 7"/>
          <p:cNvSpPr>
            <a:spLocks noGrp="1"/>
          </p:cNvSpPr>
          <p:nvPr>
            <p:ph type="ftr" sz="quarter" idx="11"/>
          </p:nvPr>
        </p:nvSpPr>
        <p:spPr/>
        <p:txBody>
          <a:bodyPr/>
          <a:lstStyle/>
          <a:p>
            <a:endParaRPr lang="en-US"/>
          </a:p>
        </p:txBody>
      </p:sp>
      <p:sp>
        <p:nvSpPr>
          <p:cNvPr id="10" name="Rectangle 9"/>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97516"/>
            <a:ext cx="3189796" cy="430176"/>
          </a:xfrm>
          <a:prstGeom prst="rect">
            <a:avLst/>
          </a:prstGeom>
        </p:spPr>
      </p:pic>
      <p:sp>
        <p:nvSpPr>
          <p:cNvPr id="12" name="Rectangle 11"/>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10530273" y="5880370"/>
            <a:ext cx="1301885" cy="606738"/>
            <a:chOff x="10717834" y="5953476"/>
            <a:chExt cx="1051094" cy="489858"/>
          </a:xfrm>
        </p:grpSpPr>
        <p:sp>
          <p:nvSpPr>
            <p:cNvPr id="16" name="Oval 15"/>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Slide Number Placeholder 8"/>
          <p:cNvSpPr>
            <a:spLocks noGrp="1"/>
          </p:cNvSpPr>
          <p:nvPr>
            <p:ph type="sldNum" sz="quarter" idx="12"/>
          </p:nvPr>
        </p:nvSpPr>
        <p:spPr>
          <a:xfrm>
            <a:off x="9088958" y="6275759"/>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99456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9433" y="365125"/>
            <a:ext cx="10944367" cy="753991"/>
          </a:xfrm>
        </p:spPr>
        <p:txBody>
          <a:bodyPr>
            <a:normAutofit/>
          </a:bodyPr>
          <a:lstStyle>
            <a:lvl1pPr>
              <a:defRPr sz="2400">
                <a:solidFill>
                  <a:srgbClr val="0070C0"/>
                </a:solidFill>
                <a:latin typeface="Segoe UI Semibold" panose="020B0702040204020203"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p>
            <a:fld id="{209C4FE2-AE5C-415E-B144-E5678787832C}" type="datetimeFigureOut">
              <a:rPr lang="en-US" smtClean="0"/>
              <a:t>3/31/2021</a:t>
            </a:fld>
            <a:endParaRPr lang="en-US"/>
          </a:p>
        </p:txBody>
      </p:sp>
      <p:sp>
        <p:nvSpPr>
          <p:cNvPr id="4" name="Footer Placeholder 3"/>
          <p:cNvSpPr>
            <a:spLocks noGrp="1"/>
          </p:cNvSpPr>
          <p:nvPr>
            <p:ph type="ftr" sz="quarter" idx="11"/>
          </p:nvPr>
        </p:nvSpPr>
        <p:spPr/>
        <p:txBody>
          <a:bodyPr/>
          <a:lstStyle/>
          <a:p>
            <a:endParaRPr lang="en-US"/>
          </a:p>
        </p:txBody>
      </p:sp>
      <p:sp>
        <p:nvSpPr>
          <p:cNvPr id="6" name="Rectangle 5"/>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56544" y="297516"/>
            <a:ext cx="3189796" cy="430176"/>
          </a:xfrm>
          <a:prstGeom prst="rect">
            <a:avLst/>
          </a:prstGeom>
        </p:spPr>
      </p:pic>
      <p:cxnSp>
        <p:nvCxnSpPr>
          <p:cNvPr id="8" name="Straight Connector 7"/>
          <p:cNvCxnSpPr/>
          <p:nvPr/>
        </p:nvCxnSpPr>
        <p:spPr>
          <a:xfrm>
            <a:off x="245660"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281684"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10530273" y="5880370"/>
            <a:ext cx="1301885" cy="606738"/>
            <a:chOff x="10717834" y="5953476"/>
            <a:chExt cx="1051094" cy="489858"/>
          </a:xfrm>
        </p:grpSpPr>
        <p:sp>
          <p:nvSpPr>
            <p:cNvPr id="14" name="Oval 13"/>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p:cNvSpPr>
            <a:spLocks noGrp="1"/>
          </p:cNvSpPr>
          <p:nvPr>
            <p:ph type="sldNum" sz="quarter" idx="12"/>
          </p:nvPr>
        </p:nvSpPr>
        <p:spPr>
          <a:xfrm>
            <a:off x="9088958" y="6261351"/>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206252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9C4FE2-AE5C-415E-B144-E5678787832C}" type="datetimeFigureOut">
              <a:rPr lang="en-US" smtClean="0"/>
              <a:t>3/31/2021</a:t>
            </a:fld>
            <a:endParaRPr lang="en-US"/>
          </a:p>
        </p:txBody>
      </p:sp>
      <p:sp>
        <p:nvSpPr>
          <p:cNvPr id="3" name="Footer Placeholder 2"/>
          <p:cNvSpPr>
            <a:spLocks noGrp="1"/>
          </p:cNvSpPr>
          <p:nvPr>
            <p:ph type="ftr" sz="quarter" idx="11"/>
          </p:nvPr>
        </p:nvSpPr>
        <p:spPr/>
        <p:txBody>
          <a:bodyPr/>
          <a:lstStyle/>
          <a:p>
            <a:endParaRPr lang="en-US"/>
          </a:p>
        </p:txBody>
      </p:sp>
      <p:sp>
        <p:nvSpPr>
          <p:cNvPr id="5" name="Rectangle 4"/>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p:cNvSpPr txBox="1">
            <a:spLocks/>
          </p:cNvSpPr>
          <p:nvPr/>
        </p:nvSpPr>
        <p:spPr>
          <a:xfrm>
            <a:off x="8965566" y="514263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Segoe UI Semibold" panose="020B07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12568EF-7BAD-4945-B6F2-C41C476107F9}" type="slidenum">
              <a:rPr lang="en-US" smtClean="0"/>
              <a:pPr/>
              <a:t>‹#›</a:t>
            </a:fld>
            <a:endParaRPr lang="en-US" dirty="0"/>
          </a:p>
        </p:txBody>
      </p:sp>
      <p:grpSp>
        <p:nvGrpSpPr>
          <p:cNvPr id="9" name="Group 8"/>
          <p:cNvGrpSpPr/>
          <p:nvPr/>
        </p:nvGrpSpPr>
        <p:grpSpPr>
          <a:xfrm>
            <a:off x="10530273" y="5880370"/>
            <a:ext cx="1301885" cy="606738"/>
            <a:chOff x="10717834" y="5953476"/>
            <a:chExt cx="1051094" cy="489858"/>
          </a:xfrm>
        </p:grpSpPr>
        <p:sp>
          <p:nvSpPr>
            <p:cNvPr id="10" name="Oval 9"/>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9088958" y="6261647"/>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1842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289790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393384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86170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250047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65074289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295401"/>
            <a:ext cx="11264900" cy="5022623"/>
          </a:xfrm>
          <a:prstGeom prst="rect">
            <a:avLst/>
          </a:prstGeom>
        </p:spPr>
        <p:txBody>
          <a:bodyPr>
            <a:normAutofit/>
          </a:bodyPr>
          <a:lstStyle>
            <a:lvl1pPr>
              <a:defRPr sz="24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2" y="584200"/>
            <a:ext cx="2642049" cy="510069"/>
          </a:xfrm>
          <a:prstGeom prst="rect">
            <a:avLst/>
          </a:prstGeom>
        </p:spPr>
      </p:pic>
      <p:cxnSp>
        <p:nvCxnSpPr>
          <p:cNvPr id="17" name="Straight Connector 16"/>
          <p:cNvCxnSpPr/>
          <p:nvPr/>
        </p:nvCxnSpPr>
        <p:spPr>
          <a:xfrm>
            <a:off x="0" y="990600"/>
            <a:ext cx="92456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6221282"/>
            <a:ext cx="1524000" cy="357319"/>
          </a:xfrm>
          <a:prstGeom prst="rect">
            <a:avLst/>
          </a:prstGeom>
        </p:spPr>
      </p:pic>
      <p:grpSp>
        <p:nvGrpSpPr>
          <p:cNvPr id="22" name="Group 21"/>
          <p:cNvGrpSpPr/>
          <p:nvPr/>
        </p:nvGrpSpPr>
        <p:grpSpPr>
          <a:xfrm flipH="1">
            <a:off x="0" y="6445079"/>
            <a:ext cx="12192000" cy="406400"/>
            <a:chOff x="0" y="4833809"/>
            <a:chExt cx="9144000" cy="304800"/>
          </a:xfrm>
        </p:grpSpPr>
        <p:sp>
          <p:nvSpPr>
            <p:cNvPr id="20" name="Rectangle 19"/>
            <p:cNvSpPr/>
            <p:nvPr/>
          </p:nvSpPr>
          <p:spPr>
            <a:xfrm>
              <a:off x="0" y="4986209"/>
              <a:ext cx="6477000"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4876800" y="4833809"/>
              <a:ext cx="4267200" cy="30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Tree>
    <p:extLst>
      <p:ext uri="{BB962C8B-B14F-4D97-AF65-F5344CB8AC3E}">
        <p14:creationId xmlns:p14="http://schemas.microsoft.com/office/powerpoint/2010/main" val="375937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387" y="0"/>
            <a:ext cx="12208388" cy="6858000"/>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226660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55262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83412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398189782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39781963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82682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006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582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91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800748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346339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6767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7811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925194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823814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934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83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360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436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049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53801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6367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799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3086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8254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2682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498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15135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566963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271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1990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464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17" name="TextBox 16">
            <a:extLst>
              <a:ext uri="{FF2B5EF4-FFF2-40B4-BE49-F238E27FC236}">
                <a16:creationId xmlns:a16="http://schemas.microsoft.com/office/drawing/2014/main" id="{2589C2E4-CE3E-472C-A0EE-EC3540422079}"/>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18" name="Text Placeholder 4">
            <a:extLst>
              <a:ext uri="{FF2B5EF4-FFF2-40B4-BE49-F238E27FC236}">
                <a16:creationId xmlns:a16="http://schemas.microsoft.com/office/drawing/2014/main" id="{CCCDE24C-597E-4EE9-A4BC-F1FF940CBE87}"/>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9" name="Text Placeholder 4">
            <a:extLst>
              <a:ext uri="{FF2B5EF4-FFF2-40B4-BE49-F238E27FC236}">
                <a16:creationId xmlns:a16="http://schemas.microsoft.com/office/drawing/2014/main" id="{828EB695-08B2-4884-A095-850451DF0101}"/>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20" name="TextBox 19">
            <a:extLst>
              <a:ext uri="{FF2B5EF4-FFF2-40B4-BE49-F238E27FC236}">
                <a16:creationId xmlns:a16="http://schemas.microsoft.com/office/drawing/2014/main" id="{175920F8-F6E2-4F83-9569-0CA1D278C9A6}"/>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1" name="Text Placeholder 4">
            <a:extLst>
              <a:ext uri="{FF2B5EF4-FFF2-40B4-BE49-F238E27FC236}">
                <a16:creationId xmlns:a16="http://schemas.microsoft.com/office/drawing/2014/main" id="{F54F2D01-271D-4ABB-99F8-988ACDEE6E79}"/>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22" name="TextBox 21">
            <a:extLst>
              <a:ext uri="{FF2B5EF4-FFF2-40B4-BE49-F238E27FC236}">
                <a16:creationId xmlns:a16="http://schemas.microsoft.com/office/drawing/2014/main" id="{856F8591-1DBE-4565-AC6F-60CAAEBB8F46}"/>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23" name="TextBox 22">
            <a:extLst>
              <a:ext uri="{FF2B5EF4-FFF2-40B4-BE49-F238E27FC236}">
                <a16:creationId xmlns:a16="http://schemas.microsoft.com/office/drawing/2014/main" id="{17D52EC8-9238-4F4A-BBBC-A016D11B5CF8}"/>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4" name="Text Placeholder 4">
            <a:extLst>
              <a:ext uri="{FF2B5EF4-FFF2-40B4-BE49-F238E27FC236}">
                <a16:creationId xmlns:a16="http://schemas.microsoft.com/office/drawing/2014/main" id="{1B3E63AD-42CA-445C-97F3-DDE05F705675}"/>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25" name="TextBox 24">
            <a:extLst>
              <a:ext uri="{FF2B5EF4-FFF2-40B4-BE49-F238E27FC236}">
                <a16:creationId xmlns:a16="http://schemas.microsoft.com/office/drawing/2014/main" id="{274A6492-8AD7-4E81-8CF0-97F81C18F3A0}"/>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6" name="TextBox 25">
            <a:extLst>
              <a:ext uri="{FF2B5EF4-FFF2-40B4-BE49-F238E27FC236}">
                <a16:creationId xmlns:a16="http://schemas.microsoft.com/office/drawing/2014/main" id="{B748E7DD-ABE0-4EDF-8068-30292B1E3A26}"/>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7" name="Group 26">
            <a:extLst>
              <a:ext uri="{FF2B5EF4-FFF2-40B4-BE49-F238E27FC236}">
                <a16:creationId xmlns:a16="http://schemas.microsoft.com/office/drawing/2014/main" id="{123D1D8B-CF2F-4B87-A9D9-1E19A1F45651}"/>
              </a:ext>
            </a:extLst>
          </p:cNvPr>
          <p:cNvGrpSpPr/>
          <p:nvPr userDrawn="1"/>
        </p:nvGrpSpPr>
        <p:grpSpPr>
          <a:xfrm>
            <a:off x="7342825" y="5999452"/>
            <a:ext cx="4629739" cy="615609"/>
            <a:chOff x="274638" y="4554931"/>
            <a:chExt cx="4722575" cy="627864"/>
          </a:xfrm>
        </p:grpSpPr>
        <p:sp>
          <p:nvSpPr>
            <p:cNvPr id="28" name="TextBox 27">
              <a:extLst>
                <a:ext uri="{FF2B5EF4-FFF2-40B4-BE49-F238E27FC236}">
                  <a16:creationId xmlns:a16="http://schemas.microsoft.com/office/drawing/2014/main" id="{ACD72FDB-6EF8-4E3F-BF77-E09C21261007}"/>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9" name="Straight Connector 28">
              <a:extLst>
                <a:ext uri="{FF2B5EF4-FFF2-40B4-BE49-F238E27FC236}">
                  <a16:creationId xmlns:a16="http://schemas.microsoft.com/office/drawing/2014/main" id="{E9ED71E6-D3EC-4091-BD44-FC68E08CA312}"/>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0947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554538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365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700076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938110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772773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240927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621780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58342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21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27292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3126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4166464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2877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1014940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1402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04120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177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178854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205383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5" t="11255" r="14683" b="16717"/>
          <a:stretch/>
        </p:blipFill>
        <p:spPr>
          <a:xfrm>
            <a:off x="-1" y="0"/>
            <a:ext cx="12190269" cy="6857999"/>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354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56315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0"/>
            <a:ext cx="6856851" cy="6857999"/>
          </a:xfrm>
          <a:prstGeom prst="rect">
            <a:avLst/>
          </a:prstGeom>
        </p:spPr>
      </p:pic>
    </p:spTree>
    <p:extLst>
      <p:ext uri="{BB962C8B-B14F-4D97-AF65-F5344CB8AC3E}">
        <p14:creationId xmlns:p14="http://schemas.microsoft.com/office/powerpoint/2010/main" val="3764312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11693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3876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614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103550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4935712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409886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50043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21249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867361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50754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4"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6652956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5782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6638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409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98905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1378604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988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lank Slide (Title)">
    <p:spTree>
      <p:nvGrpSpPr>
        <p:cNvPr id="1" name=""/>
        <p:cNvGrpSpPr/>
        <p:nvPr/>
      </p:nvGrpSpPr>
      <p:grpSpPr>
        <a:xfrm>
          <a:off x="0" y="0"/>
          <a:ext cx="0" cy="0"/>
          <a:chOff x="0" y="0"/>
          <a:chExt cx="0" cy="0"/>
        </a:xfrm>
      </p:grpSpPr>
      <p:sp>
        <p:nvSpPr>
          <p:cNvPr id="9" name="Title 1"/>
          <p:cNvSpPr txBox="1">
            <a:spLocks/>
          </p:cNvSpPr>
          <p:nvPr userDrawn="1"/>
        </p:nvSpPr>
        <p:spPr>
          <a:xfrm>
            <a:off x="0" y="6733312"/>
            <a:ext cx="12192000" cy="124691"/>
          </a:xfrm>
          <a:prstGeom prst="rect">
            <a:avLst/>
          </a:prstGeom>
          <a:solidFill>
            <a:schemeClr val="tx1">
              <a:lumMod val="75000"/>
              <a:lumOff val="25000"/>
            </a:schemeClr>
          </a:solidFill>
        </p:spPr>
        <p:txBody>
          <a:bodyPr vert="horz" lIns="62318" tIns="31159" rIns="62318" bIns="31159" rtlCol="0" anchor="ctr">
            <a:normAutofit fontScale="25000" lnSpcReduction="20000"/>
          </a:bodyPr>
          <a:lstStyle>
            <a:lvl1pPr algn="l" defTabSz="1341150" rtl="0" eaLnBrk="1" latinLnBrk="0" hangingPunct="1">
              <a:lnSpc>
                <a:spcPct val="90000"/>
              </a:lnSpc>
              <a:spcBef>
                <a:spcPct val="0"/>
              </a:spcBef>
              <a:buNone/>
              <a:defRPr sz="6453" kern="1200">
                <a:solidFill>
                  <a:schemeClr val="tx1"/>
                </a:solidFill>
                <a:latin typeface="+mj-lt"/>
                <a:ea typeface="+mj-ea"/>
                <a:cs typeface="+mj-cs"/>
              </a:defRPr>
            </a:lvl1pPr>
          </a:lstStyle>
          <a:p>
            <a:endParaRPr lang="en-US" sz="1909">
              <a:solidFill>
                <a:schemeClr val="bg1"/>
              </a:solidFill>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4" y="6730350"/>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50"/>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4">
                <a:solidFill>
                  <a:schemeClr val="bg1"/>
                </a:solidFill>
              </a:defRPr>
            </a:lvl1pPr>
            <a:lvl2pPr marL="456934" indent="0">
              <a:buNone/>
              <a:defRPr/>
            </a:lvl2pPr>
            <a:lvl3pPr marL="913868" indent="0">
              <a:buNone/>
              <a:defRPr/>
            </a:lvl3pPr>
            <a:lvl4pPr marL="1370803" indent="0">
              <a:buNone/>
              <a:defRPr/>
            </a:lvl4pPr>
            <a:lvl5pPr marL="1827740"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4">
                <a:solidFill>
                  <a:schemeClr val="bg1"/>
                </a:solidFill>
              </a:defRPr>
            </a:lvl1pPr>
            <a:lvl2pPr marL="456934" indent="0">
              <a:buNone/>
              <a:defRPr/>
            </a:lvl2pPr>
            <a:lvl3pPr marL="913868" indent="0">
              <a:buNone/>
              <a:defRPr/>
            </a:lvl3pPr>
            <a:lvl4pPr marL="1370803" indent="0">
              <a:buNone/>
              <a:defRPr/>
            </a:lvl4pPr>
            <a:lvl5pPr marL="1827740" indent="0">
              <a:buNone/>
              <a:defRPr/>
            </a:lvl5pPr>
          </a:lstStyle>
          <a:p>
            <a:pPr lvl="0"/>
            <a:r>
              <a:rPr lang="en-US"/>
              <a:t>Update Frequency</a:t>
            </a:r>
          </a:p>
        </p:txBody>
      </p:sp>
      <p:sp>
        <p:nvSpPr>
          <p:cNvPr id="8" name="TextBox 7">
            <a:extLst>
              <a:ext uri="{FF2B5EF4-FFF2-40B4-BE49-F238E27FC236}">
                <a16:creationId xmlns:a16="http://schemas.microsoft.com/office/drawing/2014/main" id="{9AC7C599-31EE-4E68-967C-B24BF6295FD3}"/>
              </a:ext>
            </a:extLst>
          </p:cNvPr>
          <p:cNvSpPr txBox="1"/>
          <p:nvPr userDrawn="1"/>
        </p:nvSpPr>
        <p:spPr>
          <a:xfrm>
            <a:off x="8030626" y="-673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6236835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01BD5D-2F98-4DB4-B4DD-6E8D2B30FC11}" type="slidenum">
              <a:rPr kumimoji="0" lang="en-US" sz="75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Update Frequency</a:t>
            </a:r>
          </a:p>
        </p:txBody>
      </p:sp>
      <p:sp>
        <p:nvSpPr>
          <p:cNvPr id="7" name="TextBox 6">
            <a:extLst>
              <a:ext uri="{FF2B5EF4-FFF2-40B4-BE49-F238E27FC236}">
                <a16:creationId xmlns:a16="http://schemas.microsoft.com/office/drawing/2014/main" id="{FC58165A-E7A1-48AA-8268-F76767920E14}"/>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582107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716435"/>
          </a:xfrm>
          <a:solidFill>
            <a:schemeClr val="tx1">
              <a:lumMod val="65000"/>
              <a:lumOff val="35000"/>
            </a:schemeClr>
          </a:solidFill>
        </p:spPr>
        <p:txBody>
          <a:bodyPr>
            <a:normAutofit/>
          </a:bodyPr>
          <a:lstStyle>
            <a:lvl1pPr>
              <a:defRPr sz="2800">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1"/>
            <a:ext cx="1792940" cy="716437"/>
          </a:xfrm>
          <a:solidFill>
            <a:schemeClr val="bg2"/>
          </a:solidFill>
        </p:spPr>
        <p:txBody>
          <a:bodyPr anchor="ctr">
            <a:noAutofit/>
          </a:bodyPr>
          <a:lstStyle>
            <a:lvl1pPr marL="0" indent="0" algn="ctr">
              <a:buNone/>
              <a:defRPr sz="1600" b="1">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Responsible</a:t>
            </a:r>
          </a:p>
        </p:txBody>
      </p:sp>
      <p:sp>
        <p:nvSpPr>
          <p:cNvPr id="7" name="TextBox 6">
            <a:extLst>
              <a:ext uri="{FF2B5EF4-FFF2-40B4-BE49-F238E27FC236}">
                <a16:creationId xmlns:a16="http://schemas.microsoft.com/office/drawing/2014/main" id="{FCBAFC33-9425-4DDB-92E2-F58480299608}"/>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2768794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716435"/>
          </a:xfrm>
          <a:solidFill>
            <a:schemeClr val="tx1">
              <a:lumMod val="65000"/>
              <a:lumOff val="35000"/>
            </a:schemeClr>
          </a:solidFill>
        </p:spPr>
        <p:txBody>
          <a:bodyPr>
            <a:normAutofit/>
          </a:bodyPr>
          <a:lstStyle>
            <a:lvl1pPr>
              <a:defRPr sz="2800">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1"/>
            <a:ext cx="1792940" cy="716437"/>
          </a:xfrm>
          <a:solidFill>
            <a:schemeClr val="bg2"/>
          </a:solidFill>
        </p:spPr>
        <p:txBody>
          <a:bodyPr anchor="ctr">
            <a:noAutofit/>
          </a:bodyPr>
          <a:lstStyle>
            <a:lvl1pPr marL="0" indent="0" algn="ctr">
              <a:buNone/>
              <a:defRPr sz="1600" b="1">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Responsible</a:t>
            </a:r>
          </a:p>
        </p:txBody>
      </p:sp>
    </p:spTree>
    <p:extLst>
      <p:ext uri="{BB962C8B-B14F-4D97-AF65-F5344CB8AC3E}">
        <p14:creationId xmlns:p14="http://schemas.microsoft.com/office/powerpoint/2010/main" val="207472035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01BD5D-2F98-4DB4-B4DD-6E8D2B30FC11}" type="slidenum">
              <a:rPr kumimoji="0" lang="en-US" sz="75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Update Frequency</a:t>
            </a:r>
          </a:p>
        </p:txBody>
      </p:sp>
      <p:sp>
        <p:nvSpPr>
          <p:cNvPr id="7" name="TextBox 6">
            <a:extLst>
              <a:ext uri="{FF2B5EF4-FFF2-40B4-BE49-F238E27FC236}">
                <a16:creationId xmlns:a16="http://schemas.microsoft.com/office/drawing/2014/main" id="{48E92313-B1A1-4A2A-8B5D-0843B836C821}"/>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097006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_Option 1_Photo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4040">
                      <a:srgbClr val="525252"/>
                    </a:gs>
                    <a:gs pos="17000">
                      <a:srgbClr val="525252"/>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4040">
                      <a:srgbClr val="525252"/>
                    </a:gs>
                    <a:gs pos="17000">
                      <a:srgbClr val="525252"/>
                    </a:gs>
                  </a:gsLst>
                  <a:lin ang="5400000" scaled="0"/>
                </a:gradFill>
              </a:defRPr>
            </a:lvl1pPr>
          </a:lstStyle>
          <a:p>
            <a:pPr lvl="0"/>
            <a:r>
              <a:rPr lang="en-US"/>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90" y="470411"/>
            <a:ext cx="1228189" cy="263937"/>
          </a:xfrm>
          <a:prstGeom prst="rect">
            <a:avLst/>
          </a:prstGeom>
        </p:spPr>
      </p:pic>
    </p:spTree>
    <p:extLst>
      <p:ext uri="{BB962C8B-B14F-4D97-AF65-F5344CB8AC3E}">
        <p14:creationId xmlns:p14="http://schemas.microsoft.com/office/powerpoint/2010/main" val="309501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425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189176"/>
            <a:ext cx="11653523" cy="1909005"/>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528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301691"/>
            <a:ext cx="11671166" cy="780349"/>
          </a:xfrm>
          <a:prstGeom prst="rect">
            <a:avLst/>
          </a:prstGeom>
          <a:effectLst/>
        </p:spPr>
        <p:txBody>
          <a:bodyPr lIns="559562" tIns="46614" rIns="93231" bIns="46614" anchor="ctr"/>
          <a:lstStyle>
            <a:lvl1pPr>
              <a:defRPr lang="en-US" dirty="0"/>
            </a:lvl1pPr>
          </a:lstStyle>
          <a:p>
            <a:pPr marL="0" marR="0" lvl="0" indent="0" defTabSz="896043" fontAlgn="auto">
              <a:lnSpc>
                <a:spcPts val="3430"/>
              </a:lnSpc>
              <a:spcAft>
                <a:spcPts val="0"/>
              </a:spcAft>
              <a:buClrTx/>
              <a:buSzTx/>
              <a:buFontTx/>
              <a:tabLst/>
            </a:pPr>
            <a:r>
              <a:rPr lang="en-US" dirty="0"/>
              <a:t>Click to edit master title style</a:t>
            </a:r>
          </a:p>
        </p:txBody>
      </p:sp>
    </p:spTree>
    <p:extLst>
      <p:ext uri="{BB962C8B-B14F-4D97-AF65-F5344CB8AC3E}">
        <p14:creationId xmlns:p14="http://schemas.microsoft.com/office/powerpoint/2010/main" val="683762205"/>
      </p:ext>
    </p:extLst>
  </p:cSld>
  <p:clrMapOvr>
    <a:masterClrMapping/>
  </p:clrMapOvr>
  <p:transition>
    <p:fade/>
  </p:transition>
  <p:extLst>
    <p:ext uri="{DCECCB84-F9BA-43D5-87BE-67443E8EF086}">
      <p15:sldGuideLst xmlns:p15="http://schemas.microsoft.com/office/powerpoint/2012/main">
        <p15:guide id="1" pos="7661">
          <p15:clr>
            <a:srgbClr val="FBAE40"/>
          </p15:clr>
        </p15:guide>
        <p15:guide id="2" pos="17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D6EE6-E88D-4B44-BC68-D399D052D5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F98475-29F5-4997-B4A5-0D13AA36CCB0}"/>
              </a:ext>
            </a:extLst>
          </p:cNvPr>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C6F6A4-C6E6-49E8-9AB9-B3D53A89E10B}"/>
              </a:ext>
            </a:extLst>
          </p:cNvPr>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159D9E6-BF4B-481E-9E23-3578F68C038D}"/>
              </a:ext>
            </a:extLst>
          </p:cNvPr>
          <p:cNvSpPr>
            <a:spLocks noGrp="1"/>
          </p:cNvSpPr>
          <p:nvPr>
            <p:ph type="dt" sz="half" idx="10"/>
          </p:nvPr>
        </p:nvSpPr>
        <p:spPr/>
        <p:txBody>
          <a:bodyPr/>
          <a:lstStyle/>
          <a:p>
            <a:fld id="{25DC0F63-EF55-49C4-8BA4-2D704CD1ADDE}" type="datetimeFigureOut">
              <a:rPr lang="en-US" smtClean="0"/>
              <a:t>3/31/2021</a:t>
            </a:fld>
            <a:endParaRPr lang="en-US"/>
          </a:p>
        </p:txBody>
      </p:sp>
      <p:sp>
        <p:nvSpPr>
          <p:cNvPr id="6" name="Footer Placeholder 5">
            <a:extLst>
              <a:ext uri="{FF2B5EF4-FFF2-40B4-BE49-F238E27FC236}">
                <a16:creationId xmlns:a16="http://schemas.microsoft.com/office/drawing/2014/main" id="{1EFA7C3B-6F75-4AD0-A6A7-E8D43D7EF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9453E8-1CDE-4FEE-AFBD-873C506FA06A}"/>
              </a:ext>
            </a:extLst>
          </p:cNvPr>
          <p:cNvSpPr>
            <a:spLocks noGrp="1"/>
          </p:cNvSpPr>
          <p:nvPr>
            <p:ph type="sldNum" sz="quarter" idx="12"/>
          </p:nvPr>
        </p:nvSpPr>
        <p:spPr/>
        <p:txBody>
          <a:bodyPr/>
          <a:lstStyle/>
          <a:p>
            <a:fld id="{808FF4CA-EB4D-4D5A-B317-A002659EE792}" type="slidenum">
              <a:rPr lang="en-US" smtClean="0"/>
              <a:t>‹#›</a:t>
            </a:fld>
            <a:endParaRPr lang="en-US"/>
          </a:p>
        </p:txBody>
      </p:sp>
    </p:spTree>
    <p:extLst>
      <p:ext uri="{BB962C8B-B14F-4D97-AF65-F5344CB8AC3E}">
        <p14:creationId xmlns:p14="http://schemas.microsoft.com/office/powerpoint/2010/main" val="8298220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524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15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2190058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180574" y="6248512"/>
            <a:ext cx="2742188" cy="364224"/>
          </a:xfrm>
          <a:prstGeom prst="rect">
            <a:avLst/>
          </a:prstGeom>
        </p:spPr>
        <p:txBody>
          <a:bodyPr vert="horz" lIns="91440" tIns="45720" rIns="146304" bIns="45720" rtlCol="0" anchor="ctr"/>
          <a:lstStyle>
            <a:lvl1pPr marL="0" algn="r" defTabSz="914192"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1059609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1"/>
            <a:ext cx="2742188" cy="364224"/>
          </a:xfrm>
          <a:prstGeom prst="rect">
            <a:avLst/>
          </a:prstGeom>
        </p:spPr>
        <p:txBody>
          <a:bodyPr vert="horz" lIns="91440" tIns="45720" rIns="146304" bIns="45720" rtlCol="0" anchor="ctr"/>
          <a:lstStyle>
            <a:lvl1pPr marL="0" algn="r" defTabSz="914367"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4241177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7861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2604988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0765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93392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65033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024651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41369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35070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7886351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2723403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882617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448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5770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image" Target="../media/image1.emf"/><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5.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image" Target="../media/image17.png"/><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theme" Target="../theme/theme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image" Target="../media/image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53976670"/>
      </p:ext>
    </p:extLst>
  </p:cSld>
  <p:clrMap bg1="dk1" tx1="lt1" bg2="dk2" tx2="lt2" accent1="accent1" accent2="accent2" accent3="accent3" accent4="accent4" accent5="accent5" accent6="accent6" hlink="hlink" folHlink="folHlink"/>
  <p:sldLayoutIdLst>
    <p:sldLayoutId id="2147483663" r:id="rId1"/>
    <p:sldLayoutId id="2147483681"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1905368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64850135"/>
      </p:ext>
    </p:extLst>
  </p:cSld>
  <p:clrMap bg1="dk1" tx1="lt1" bg2="dk2" tx2="lt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2152093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6884332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9C4FE2-AE5C-415E-B144-E5678787832C}" type="datetimeFigureOut">
              <a:rPr lang="en-US" smtClean="0"/>
              <a:t>3/3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AD1322-8C57-468B-83EA-78284625AF84}" type="slidenum">
              <a:rPr lang="en-US" smtClean="0"/>
              <a:t>‹#›</a:t>
            </a:fld>
            <a:endParaRPr lang="en-US"/>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2340346" y="3114158"/>
            <a:ext cx="1577213" cy="369795"/>
          </a:xfrm>
          <a:prstGeom prst="rect">
            <a:avLst/>
          </a:prstGeom>
        </p:spPr>
      </p:pic>
      <p:pic>
        <p:nvPicPr>
          <p:cNvPr id="8" name="Picture 7"/>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2340346" y="3666941"/>
            <a:ext cx="2228920" cy="254412"/>
          </a:xfrm>
          <a:prstGeom prst="rect">
            <a:avLst/>
          </a:prstGeom>
        </p:spPr>
      </p:pic>
      <p:pic>
        <p:nvPicPr>
          <p:cNvPr id="9" name="Picture 8">
            <a:extLst>
              <a:ext uri="{FF2B5EF4-FFF2-40B4-BE49-F238E27FC236}">
                <a16:creationId xmlns:a16="http://schemas.microsoft.com/office/drawing/2014/main" id="{8C719ADC-A7A1-44AE-A1C8-1682D12274E6}"/>
              </a:ext>
            </a:extLst>
          </p:cNvPr>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6279578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3" r:id="rId15"/>
    <p:sldLayoutId id="2147483804" r:id="rId16"/>
    <p:sldLayoutId id="2147483805" r:id="rId17"/>
    <p:sldLayoutId id="2147483806" r:id="rId18"/>
    <p:sldLayoutId id="214748380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8.xml"/></Relationships>
</file>

<file path=ppt/slides/_rels/slide1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8.xml"/><Relationship Id="rId1" Type="http://schemas.openxmlformats.org/officeDocument/2006/relationships/slideLayout" Target="../slideLayouts/slideLayout134.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35.xml"/></Relationships>
</file>

<file path=ppt/slides/_rels/slide1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9.xml"/><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5.xml"/></Relationships>
</file>

<file path=ppt/slides/_rels/slide1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0.xml"/><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5.xml"/></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36.emf"/><Relationship Id="rId7"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35.xml"/><Relationship Id="rId6" Type="http://schemas.openxmlformats.org/officeDocument/2006/relationships/image" Target="../media/image33.emf"/><Relationship Id="rId11" Type="http://schemas.openxmlformats.org/officeDocument/2006/relationships/image" Target="../media/image53.emf"/><Relationship Id="rId5" Type="http://schemas.openxmlformats.org/officeDocument/2006/relationships/image" Target="../media/image49.emf"/><Relationship Id="rId10" Type="http://schemas.openxmlformats.org/officeDocument/2006/relationships/image" Target="../media/image52.emf"/><Relationship Id="rId4" Type="http://schemas.openxmlformats.org/officeDocument/2006/relationships/image" Target="../media/image35.emf"/><Relationship Id="rId9" Type="http://schemas.microsoft.com/office/2007/relationships/hdphoto" Target="../media/hdphoto3.wdp"/></Relationships>
</file>

<file path=ppt/slides/_rels/slide1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12.xml"/><Relationship Id="rId1" Type="http://schemas.openxmlformats.org/officeDocument/2006/relationships/slideLayout" Target="../slideLayouts/slideLayout136.xml"/><Relationship Id="rId4" Type="http://schemas.openxmlformats.org/officeDocument/2006/relationships/image" Target="../media/image56.emf"/></Relationships>
</file>

<file path=ppt/slides/_rels/slide19.xml.rels><?xml version="1.0" encoding="UTF-8" standalone="yes"?>
<Relationships xmlns="http://schemas.openxmlformats.org/package/2006/relationships"><Relationship Id="rId8" Type="http://schemas.openxmlformats.org/officeDocument/2006/relationships/image" Target="../media/image62.emf"/><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124.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emf"/><Relationship Id="rId4" Type="http://schemas.openxmlformats.org/officeDocument/2006/relationships/image" Target="../media/image58.png"/><Relationship Id="rId9" Type="http://schemas.openxmlformats.org/officeDocument/2006/relationships/image" Target="../media/image63.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3.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24.xml"/><Relationship Id="rId4" Type="http://schemas.openxmlformats.org/officeDocument/2006/relationships/image" Target="../media/image27.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_rels/slide8.xml.rels><?xml version="1.0" encoding="UTF-8" standalone="yes"?>
<Relationships xmlns="http://schemas.openxmlformats.org/package/2006/relationships"><Relationship Id="rId8" Type="http://schemas.openxmlformats.org/officeDocument/2006/relationships/image" Target="../media/image33.emf"/><Relationship Id="rId13" Type="http://schemas.openxmlformats.org/officeDocument/2006/relationships/image" Target="../media/image37.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6.emf"/><Relationship Id="rId2" Type="http://schemas.openxmlformats.org/officeDocument/2006/relationships/notesSlide" Target="../notesSlides/notesSlide7.xml"/><Relationship Id="rId16" Type="http://schemas.openxmlformats.org/officeDocument/2006/relationships/image" Target="../media/image40.png"/><Relationship Id="rId1" Type="http://schemas.openxmlformats.org/officeDocument/2006/relationships/slideLayout" Target="../slideLayouts/slideLayout124.xml"/><Relationship Id="rId6" Type="http://schemas.openxmlformats.org/officeDocument/2006/relationships/image" Target="../media/image31.png"/><Relationship Id="rId11" Type="http://schemas.openxmlformats.org/officeDocument/2006/relationships/image" Target="../media/image35.emf"/><Relationship Id="rId5" Type="http://schemas.openxmlformats.org/officeDocument/2006/relationships/image" Target="../media/image30.png"/><Relationship Id="rId15" Type="http://schemas.openxmlformats.org/officeDocument/2006/relationships/image" Target="../media/image39.png"/><Relationship Id="rId10" Type="http://schemas.microsoft.com/office/2007/relationships/hdphoto" Target="../media/hdphoto2.wdp"/><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3398292" y="3812779"/>
            <a:ext cx="8311487" cy="1019174"/>
          </a:xfrm>
        </p:spPr>
        <p:txBody>
          <a:bodyPr anchor="b">
            <a:normAutofit/>
          </a:bodyPr>
          <a:lstStyle/>
          <a:p>
            <a:r>
              <a:rPr lang="en-US" spc="0" dirty="0"/>
              <a:t>Azure Security Posture</a:t>
            </a:r>
          </a:p>
        </p:txBody>
      </p:sp>
      <p:sp>
        <p:nvSpPr>
          <p:cNvPr id="8" name="Text Placeholder 4"/>
          <p:cNvSpPr txBox="1">
            <a:spLocks/>
          </p:cNvSpPr>
          <p:nvPr/>
        </p:nvSpPr>
        <p:spPr>
          <a:xfrm>
            <a:off x="3398292" y="5151110"/>
            <a:ext cx="8311486" cy="969005"/>
          </a:xfrm>
          <a:prstGeom prst="rect">
            <a:avLst/>
          </a:prstGeom>
        </p:spPr>
        <p:txBody>
          <a:bodyPr vert="horz" lIns="161356" tIns="107571" rIns="161356" bIns="107571" rtlCol="0" anchor="ctr">
            <a:norm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89381">
                      <a:schemeClr val="tx1"/>
                    </a:gs>
                    <a:gs pos="64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00"/>
              </a:spcAft>
              <a:defRPr/>
            </a:pPr>
            <a:endParaRPr lang="en-US" sz="2400" dirty="0">
              <a:solidFill>
                <a:srgbClr val="0070C0"/>
              </a:solidFill>
            </a:endParaRPr>
          </a:p>
          <a:p>
            <a:pPr algn="ctr" defTabSz="914367">
              <a:spcAft>
                <a:spcPts val="600"/>
              </a:spcAft>
              <a:defRPr/>
            </a:pPr>
            <a:endParaRPr lang="en-US" sz="2400" dirty="0">
              <a:solidFill>
                <a:srgbClr val="0070C0"/>
              </a:solidFill>
            </a:endParaRPr>
          </a:p>
        </p:txBody>
      </p:sp>
      <p:sp>
        <p:nvSpPr>
          <p:cNvPr id="3" name="Rectangle 2">
            <a:extLst>
              <a:ext uri="{FF2B5EF4-FFF2-40B4-BE49-F238E27FC236}">
                <a16:creationId xmlns:a16="http://schemas.microsoft.com/office/drawing/2014/main" id="{7EF52A01-7819-4C30-90F9-BF0B8B8F414A}"/>
              </a:ext>
            </a:extLst>
          </p:cNvPr>
          <p:cNvSpPr/>
          <p:nvPr/>
        </p:nvSpPr>
        <p:spPr>
          <a:xfrm>
            <a:off x="5974838" y="3247965"/>
            <a:ext cx="247184" cy="363946"/>
          </a:xfrm>
          <a:prstGeom prst="rect">
            <a:avLst/>
          </a:prstGeom>
        </p:spPr>
        <p:txBody>
          <a:bodyPr wrap="none">
            <a:spAutoFit/>
          </a:bodyPr>
          <a:lstStyle/>
          <a:p>
            <a:pPr defTabSz="914367">
              <a:spcAft>
                <a:spcPts val="600"/>
              </a:spcAft>
              <a:defRPr/>
            </a:pPr>
            <a:r>
              <a:rPr lang="en-US" sz="1765" dirty="0">
                <a:solidFill>
                  <a:srgbClr val="FFFFFF"/>
                </a:solidFill>
                <a:latin typeface="Segoe UI Semilight"/>
              </a:rPr>
              <a:t> </a:t>
            </a:r>
            <a:endParaRPr lang="en-US" sz="1765">
              <a:solidFill>
                <a:srgbClr val="FFFFFF"/>
              </a:solidFill>
              <a:latin typeface="Segoe UI Semilight"/>
            </a:endParaRPr>
          </a:p>
        </p:txBody>
      </p:sp>
    </p:spTree>
    <p:extLst>
      <p:ext uri="{BB962C8B-B14F-4D97-AF65-F5344CB8AC3E}">
        <p14:creationId xmlns:p14="http://schemas.microsoft.com/office/powerpoint/2010/main" val="38465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normAutofit fontScale="90000"/>
          </a:bodyPr>
          <a:lstStyle/>
          <a:p>
            <a:r>
              <a:rPr lang="en-US" dirty="0"/>
              <a:t>Understand security state across hybrid workloads</a:t>
            </a:r>
          </a:p>
        </p:txBody>
      </p:sp>
      <p:grpSp>
        <p:nvGrpSpPr>
          <p:cNvPr id="30" name="Group 29"/>
          <p:cNvGrpSpPr/>
          <p:nvPr/>
        </p:nvGrpSpPr>
        <p:grpSpPr>
          <a:xfrm>
            <a:off x="10664930" y="399731"/>
            <a:ext cx="1151534" cy="777313"/>
            <a:chOff x="4845050" y="-3294063"/>
            <a:chExt cx="5065713" cy="3419476"/>
          </a:xfrm>
          <a:solidFill>
            <a:schemeClr val="accent1"/>
          </a:solidFill>
        </p:grpSpPr>
        <p:sp>
          <p:nvSpPr>
            <p:cNvPr id="31"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18" name="Text Placeholder 12"/>
          <p:cNvSpPr txBox="1">
            <a:spLocks/>
          </p:cNvSpPr>
          <p:nvPr/>
        </p:nvSpPr>
        <p:spPr>
          <a:xfrm>
            <a:off x="269240" y="2626515"/>
            <a:ext cx="4029144" cy="275777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Built-in Azure, no setup required</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Automatically discover </a:t>
            </a:r>
            <a:br>
              <a:rPr lang="en-US" sz="1765" dirty="0">
                <a:solidFill>
                  <a:schemeClr val="bg1"/>
                </a:solidFill>
                <a:latin typeface="+mn-lt"/>
                <a:ea typeface="Calibri" panose="020F0502020204030204" pitchFamily="34" charset="0"/>
                <a:cs typeface="Segoe UI" panose="020B0502040204020203" pitchFamily="34" charset="0"/>
              </a:rPr>
            </a:br>
            <a:r>
              <a:rPr lang="en-US" sz="1765" dirty="0">
                <a:solidFill>
                  <a:schemeClr val="bg1"/>
                </a:solidFill>
                <a:latin typeface="+mn-lt"/>
                <a:ea typeface="Calibri" panose="020F0502020204030204" pitchFamily="34" charset="0"/>
                <a:cs typeface="Segoe UI" panose="020B0502040204020203" pitchFamily="34" charset="0"/>
              </a:rPr>
              <a:t>and monitor security of </a:t>
            </a:r>
            <a:br>
              <a:rPr lang="en-US" sz="1765" dirty="0">
                <a:solidFill>
                  <a:schemeClr val="bg1"/>
                </a:solidFill>
                <a:latin typeface="+mn-lt"/>
                <a:ea typeface="Calibri" panose="020F0502020204030204" pitchFamily="34" charset="0"/>
                <a:cs typeface="Segoe UI" panose="020B0502040204020203" pitchFamily="34" charset="0"/>
              </a:rPr>
            </a:br>
            <a:r>
              <a:rPr lang="en-US" sz="1765" dirty="0">
                <a:solidFill>
                  <a:schemeClr val="bg1"/>
                </a:solidFill>
                <a:latin typeface="+mn-lt"/>
                <a:ea typeface="Calibri" panose="020F0502020204030204" pitchFamily="34" charset="0"/>
                <a:cs typeface="Segoe UI" panose="020B0502040204020203" pitchFamily="34" charset="0"/>
              </a:rPr>
              <a:t>Azure resources</a:t>
            </a:r>
            <a:br>
              <a:rPr lang="en-US" sz="1765" dirty="0">
                <a:solidFill>
                  <a:schemeClr val="bg1"/>
                </a:solidFill>
                <a:latin typeface="+mn-lt"/>
                <a:ea typeface="Calibri" panose="020F0502020204030204" pitchFamily="34" charset="0"/>
                <a:cs typeface="Segoe UI" panose="020B0502040204020203" pitchFamily="34" charset="0"/>
              </a:rPr>
            </a:br>
            <a:endParaRPr lang="en-US" sz="1765" dirty="0">
              <a:solidFill>
                <a:schemeClr val="bg1"/>
              </a:solidFill>
              <a:latin typeface="+mn-lt"/>
              <a:ea typeface="Calibri" panose="020F0502020204030204" pitchFamily="34" charset="0"/>
              <a:cs typeface="Segoe UI" panose="020B0502040204020203" pitchFamily="34" charset="0"/>
            </a:endParaRPr>
          </a:p>
          <a:p>
            <a:pPr marL="0" indent="-448193">
              <a:spcBef>
                <a:spcPts val="0"/>
              </a:spcBef>
              <a:spcAft>
                <a:spcPts val="980"/>
              </a:spcAft>
              <a:buNone/>
            </a:pPr>
            <a:r>
              <a:rPr lang="en-US" sz="1765" b="1" kern="0" dirty="0">
                <a:solidFill>
                  <a:schemeClr val="bg1"/>
                </a:solidFill>
                <a:latin typeface="Segoe UI" panose="020B0502040204020203" pitchFamily="34" charset="0"/>
                <a:cs typeface="Segoe UI" panose="020B0502040204020203" pitchFamily="34" charset="0"/>
              </a:rPr>
              <a:t>Gain insights for hybrid resource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Easily onboard resources running in other clouds </a:t>
            </a:r>
            <a:br>
              <a:rPr lang="en-US" sz="1765" dirty="0">
                <a:solidFill>
                  <a:schemeClr val="bg1"/>
                </a:solidFill>
                <a:latin typeface="+mn-lt"/>
                <a:ea typeface="Calibri" panose="020F0502020204030204" pitchFamily="34" charset="0"/>
                <a:cs typeface="Segoe UI" panose="020B0502040204020203" pitchFamily="34" charset="0"/>
              </a:rPr>
            </a:br>
            <a:r>
              <a:rPr lang="en-US" sz="1765" dirty="0">
                <a:solidFill>
                  <a:schemeClr val="bg1"/>
                </a:solidFill>
                <a:latin typeface="+mn-lt"/>
                <a:ea typeface="Calibri" panose="020F0502020204030204" pitchFamily="34" charset="0"/>
                <a:cs typeface="Segoe UI" panose="020B0502040204020203" pitchFamily="34" charset="0"/>
              </a:rPr>
              <a:t>and on-premises</a:t>
            </a:r>
          </a:p>
        </p:txBody>
      </p:sp>
      <p:sp>
        <p:nvSpPr>
          <p:cNvPr id="19" name="L-Shape 18"/>
          <p:cNvSpPr/>
          <p:nvPr/>
        </p:nvSpPr>
        <p:spPr bwMode="auto">
          <a:xfrm rot="13500000">
            <a:off x="566136" y="3151626"/>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L-Shape 19"/>
          <p:cNvSpPr/>
          <p:nvPr/>
        </p:nvSpPr>
        <p:spPr bwMode="auto">
          <a:xfrm rot="13500000">
            <a:off x="566136" y="4611429"/>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24ED6CE2-A18E-434D-A117-600DE17B18C3}"/>
              </a:ext>
            </a:extLst>
          </p:cNvPr>
          <p:cNvPicPr>
            <a:picLocks noChangeAspect="1"/>
          </p:cNvPicPr>
          <p:nvPr/>
        </p:nvPicPr>
        <p:blipFill rotWithShape="1">
          <a:blip r:embed="rId3"/>
          <a:srcRect b="9055"/>
          <a:stretch/>
        </p:blipFill>
        <p:spPr>
          <a:xfrm>
            <a:off x="4523070" y="2110931"/>
            <a:ext cx="7183368" cy="4058702"/>
          </a:xfrm>
          <a:prstGeom prst="rect">
            <a:avLst/>
          </a:prstGeom>
        </p:spPr>
      </p:pic>
    </p:spTree>
    <p:extLst>
      <p:ext uri="{BB962C8B-B14F-4D97-AF65-F5344CB8AC3E}">
        <p14:creationId xmlns:p14="http://schemas.microsoft.com/office/powerpoint/2010/main" val="10175126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560751"/>
            <a:ext cx="3959210" cy="5669578"/>
          </a:xfrm>
        </p:spPr>
        <p:txBody>
          <a:bodyPr/>
          <a:lstStyle/>
          <a:p>
            <a:r>
              <a:rPr lang="en-US" dirty="0"/>
              <a:t>Monitor the security state of resources – quickly identify vulnerabilities</a:t>
            </a:r>
          </a:p>
        </p:txBody>
      </p:sp>
      <p:pic>
        <p:nvPicPr>
          <p:cNvPr id="4" name="Snagit_PPTC8C3"/>
          <p:cNvPicPr>
            <a:picLocks noChangeAspect="1"/>
          </p:cNvPicPr>
          <p:nvPr/>
        </p:nvPicPr>
        <p:blipFill>
          <a:blip r:embed="rId2"/>
          <a:stretch>
            <a:fillRect/>
          </a:stretch>
        </p:blipFill>
        <p:spPr>
          <a:xfrm>
            <a:off x="4967854" y="216811"/>
            <a:ext cx="4366884" cy="3094097"/>
          </a:xfrm>
          <a:prstGeom prst="rect">
            <a:avLst/>
          </a:prstGeom>
        </p:spPr>
      </p:pic>
      <p:sp>
        <p:nvSpPr>
          <p:cNvPr id="6" name="Rectangle 5"/>
          <p:cNvSpPr/>
          <p:nvPr/>
        </p:nvSpPr>
        <p:spPr bwMode="auto">
          <a:xfrm>
            <a:off x="5124873" y="889129"/>
            <a:ext cx="2614572" cy="301568"/>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6490" r="3948" b="1676"/>
          <a:stretch/>
        </p:blipFill>
        <p:spPr>
          <a:xfrm>
            <a:off x="6544212" y="1303912"/>
            <a:ext cx="5453251" cy="5262575"/>
          </a:xfrm>
          <a:prstGeom prst="rect">
            <a:avLst/>
          </a:prstGeom>
          <a:ln>
            <a:solidFill>
              <a:schemeClr val="tx1">
                <a:lumMod val="60000"/>
                <a:lumOff val="40000"/>
              </a:schemeClr>
            </a:solidFill>
          </a:ln>
        </p:spPr>
      </p:pic>
    </p:spTree>
    <p:extLst>
      <p:ext uri="{BB962C8B-B14F-4D97-AF65-F5344CB8AC3E}">
        <p14:creationId xmlns:p14="http://schemas.microsoft.com/office/powerpoint/2010/main" val="302794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269240" y="2626516"/>
            <a:ext cx="4215427" cy="16544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Central policy management</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Define a security policy for each subscription in Security Center </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Apply across multiple subscriptions using Azure Management Groups</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7"/>
            <a:ext cx="7594850" cy="899537"/>
          </a:xfrm>
        </p:spPr>
        <p:txBody>
          <a:bodyPr>
            <a:normAutofit fontScale="90000"/>
          </a:bodyPr>
          <a:lstStyle/>
          <a:p>
            <a:r>
              <a:rPr lang="en-US" dirty="0"/>
              <a:t>Ensure compliance with policy management</a:t>
            </a:r>
          </a:p>
        </p:txBody>
      </p:sp>
      <p:grpSp>
        <p:nvGrpSpPr>
          <p:cNvPr id="30" name="Group 29"/>
          <p:cNvGrpSpPr/>
          <p:nvPr/>
        </p:nvGrpSpPr>
        <p:grpSpPr>
          <a:xfrm>
            <a:off x="10664930" y="399731"/>
            <a:ext cx="1151534" cy="777313"/>
            <a:chOff x="4845050" y="-3294063"/>
            <a:chExt cx="5065713" cy="3419476"/>
          </a:xfrm>
          <a:solidFill>
            <a:schemeClr val="accent1"/>
          </a:solidFill>
        </p:grpSpPr>
        <p:sp>
          <p:nvSpPr>
            <p:cNvPr id="31"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4" name="L-Shape 3"/>
          <p:cNvSpPr/>
          <p:nvPr/>
        </p:nvSpPr>
        <p:spPr bwMode="auto">
          <a:xfrm rot="13500000">
            <a:off x="566136" y="3151625"/>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 name="L-Shape 25"/>
          <p:cNvSpPr/>
          <p:nvPr/>
        </p:nvSpPr>
        <p:spPr bwMode="auto">
          <a:xfrm rot="13500000">
            <a:off x="566136" y="3760136"/>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a:extLst>
              <a:ext uri="{FF2B5EF4-FFF2-40B4-BE49-F238E27FC236}">
                <a16:creationId xmlns:a16="http://schemas.microsoft.com/office/drawing/2014/main" id="{BB3A309C-6437-45BF-8938-6CA8D483D11F}"/>
              </a:ext>
            </a:extLst>
          </p:cNvPr>
          <p:cNvPicPr>
            <a:picLocks noChangeAspect="1"/>
          </p:cNvPicPr>
          <p:nvPr/>
        </p:nvPicPr>
        <p:blipFill rotWithShape="1">
          <a:blip r:embed="rId3"/>
          <a:srcRect t="-1" b="9413"/>
          <a:stretch/>
        </p:blipFill>
        <p:spPr>
          <a:xfrm>
            <a:off x="4522326" y="2122603"/>
            <a:ext cx="7174774" cy="4037910"/>
          </a:xfrm>
          <a:prstGeom prst="rect">
            <a:avLst/>
          </a:prstGeom>
        </p:spPr>
      </p:pic>
    </p:spTree>
    <p:extLst>
      <p:ext uri="{BB962C8B-B14F-4D97-AF65-F5344CB8AC3E}">
        <p14:creationId xmlns:p14="http://schemas.microsoft.com/office/powerpoint/2010/main" val="28838672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560751"/>
            <a:ext cx="4108614" cy="5669578"/>
          </a:xfrm>
        </p:spPr>
        <p:txBody>
          <a:bodyPr/>
          <a:lstStyle/>
          <a:p>
            <a:r>
              <a:rPr lang="en-US" dirty="0"/>
              <a:t>Set security policies for subscriptions and resource groups</a:t>
            </a:r>
          </a:p>
        </p:txBody>
      </p:sp>
      <p:grpSp>
        <p:nvGrpSpPr>
          <p:cNvPr id="6" name="Group 5"/>
          <p:cNvGrpSpPr/>
          <p:nvPr/>
        </p:nvGrpSpPr>
        <p:grpSpPr>
          <a:xfrm>
            <a:off x="5348980" y="831111"/>
            <a:ext cx="6534589" cy="5397086"/>
            <a:chOff x="5456237" y="847279"/>
            <a:chExt cx="6665621" cy="5505309"/>
          </a:xfrm>
        </p:grpSpPr>
        <p:pic>
          <p:nvPicPr>
            <p:cNvPr id="3" name="Picture 2"/>
            <p:cNvPicPr>
              <a:picLocks noChangeAspect="1"/>
            </p:cNvPicPr>
            <p:nvPr/>
          </p:nvPicPr>
          <p:blipFill>
            <a:blip r:embed="rId2"/>
            <a:stretch>
              <a:fillRect/>
            </a:stretch>
          </p:blipFill>
          <p:spPr>
            <a:xfrm>
              <a:off x="5456237" y="847279"/>
              <a:ext cx="6665621" cy="5505309"/>
            </a:xfrm>
            <a:prstGeom prst="rect">
              <a:avLst/>
            </a:prstGeom>
            <a:ln>
              <a:solidFill>
                <a:schemeClr val="bg1">
                  <a:lumMod val="75000"/>
                </a:schemeClr>
              </a:solidFill>
            </a:ln>
          </p:spPr>
        </p:pic>
        <p:sp>
          <p:nvSpPr>
            <p:cNvPr id="4" name="Rectangle 3"/>
            <p:cNvSpPr/>
            <p:nvPr/>
          </p:nvSpPr>
          <p:spPr bwMode="auto">
            <a:xfrm>
              <a:off x="5532437" y="1211262"/>
              <a:ext cx="1752600"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7818437" y="1211262"/>
              <a:ext cx="1524000"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94181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7"/>
            <a:ext cx="8226726" cy="899537"/>
          </a:xfrm>
        </p:spPr>
        <p:txBody>
          <a:bodyPr>
            <a:normAutofit fontScale="90000"/>
          </a:bodyPr>
          <a:lstStyle/>
          <a:p>
            <a:r>
              <a:rPr lang="en-US" dirty="0"/>
              <a:t>Gain deeper insights with integrated log analytics </a:t>
            </a:r>
          </a:p>
        </p:txBody>
      </p:sp>
      <p:grpSp>
        <p:nvGrpSpPr>
          <p:cNvPr id="30" name="Group 29"/>
          <p:cNvGrpSpPr/>
          <p:nvPr/>
        </p:nvGrpSpPr>
        <p:grpSpPr>
          <a:xfrm>
            <a:off x="10664930" y="399731"/>
            <a:ext cx="1151534" cy="777313"/>
            <a:chOff x="4845050" y="-3294063"/>
            <a:chExt cx="5065713" cy="3419476"/>
          </a:xfrm>
          <a:solidFill>
            <a:schemeClr val="accent1"/>
          </a:solidFill>
        </p:grpSpPr>
        <p:sp>
          <p:nvSpPr>
            <p:cNvPr id="31"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16" name="Text Placeholder 12"/>
          <p:cNvSpPr txBox="1">
            <a:spLocks/>
          </p:cNvSpPr>
          <p:nvPr/>
        </p:nvSpPr>
        <p:spPr>
          <a:xfrm>
            <a:off x="209395" y="2659939"/>
            <a:ext cx="4215427" cy="325361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Quickly identify list of notable events that require your attention</a:t>
            </a:r>
          </a:p>
          <a:p>
            <a:pPr marL="435743" lvl="3" indent="0" defTabSz="913874">
              <a:spcBef>
                <a:spcPts val="0"/>
              </a:spcBef>
              <a:spcAft>
                <a:spcPts val="980"/>
              </a:spcAft>
              <a:buNone/>
              <a:defRPr/>
            </a:pPr>
            <a:r>
              <a:rPr lang="en-US" sz="1765" dirty="0">
                <a:solidFill>
                  <a:schemeClr val="bg1"/>
                </a:solidFill>
                <a:cs typeface="Segoe UI" panose="020B0502040204020203" pitchFamily="34" charset="0"/>
              </a:rPr>
              <a:t>Out of the box notable events in dashboard or create custom queries</a:t>
            </a:r>
            <a:r>
              <a:rPr lang="en-US" sz="1176" b="1" kern="0" dirty="0">
                <a:solidFill>
                  <a:schemeClr val="bg1"/>
                </a:solidFill>
                <a:latin typeface="Segoe UI" panose="020B0502040204020203" pitchFamily="34" charset="0"/>
                <a:ea typeface="Calibri" panose="020F0502020204030204" pitchFamily="34" charset="0"/>
                <a:cs typeface="Segoe UI" panose="020B0502040204020203" pitchFamily="34" charset="0"/>
              </a:rPr>
              <a:t> </a:t>
            </a:r>
          </a:p>
          <a:p>
            <a:pPr marL="0" lvl="1" indent="0" defTabSz="913874">
              <a:spcBef>
                <a:spcPts val="0"/>
              </a:spcBef>
              <a:spcAft>
                <a:spcPts val="980"/>
              </a:spcAft>
              <a:buNone/>
              <a:defRPr/>
            </a:pPr>
            <a:endPar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Search and analyze security data using a flexible query language</a:t>
            </a:r>
          </a:p>
          <a:p>
            <a:pPr marL="435743" lvl="3" indent="0" defTabSz="913874">
              <a:spcBef>
                <a:spcPts val="0"/>
              </a:spcBef>
              <a:spcAft>
                <a:spcPts val="980"/>
              </a:spcAft>
              <a:buNone/>
              <a:defRPr/>
            </a:pPr>
            <a:r>
              <a:rPr lang="en-US" sz="1765" dirty="0">
                <a:solidFill>
                  <a:schemeClr val="bg1"/>
                </a:solidFill>
                <a:cs typeface="Segoe UI" panose="020B0502040204020203" pitchFamily="34" charset="0"/>
              </a:rPr>
              <a:t>Use built-in or custom queries with Log Analytics search</a:t>
            </a:r>
          </a:p>
          <a:p>
            <a:pPr marL="435743" lvl="3" indent="0" defTabSz="913874">
              <a:spcBef>
                <a:spcPts val="0"/>
              </a:spcBef>
              <a:spcAft>
                <a:spcPts val="980"/>
              </a:spcAft>
              <a:buNone/>
              <a:defRPr/>
            </a:pPr>
            <a:endParaRPr lang="en-US" sz="1765" dirty="0">
              <a:solidFill>
                <a:schemeClr val="bg1"/>
              </a:solidFill>
              <a:cs typeface="Segoe UI" panose="020B0502040204020203" pitchFamily="34" charset="0"/>
            </a:endParaRPr>
          </a:p>
        </p:txBody>
      </p:sp>
      <p:sp>
        <p:nvSpPr>
          <p:cNvPr id="17" name="L-Shape 16"/>
          <p:cNvSpPr/>
          <p:nvPr/>
        </p:nvSpPr>
        <p:spPr bwMode="auto">
          <a:xfrm rot="13500000">
            <a:off x="566136" y="3427832"/>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L-Shape 17"/>
          <p:cNvSpPr/>
          <p:nvPr/>
        </p:nvSpPr>
        <p:spPr bwMode="auto">
          <a:xfrm rot="13500000">
            <a:off x="566136" y="4990012"/>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a:extLst>
              <a:ext uri="{FF2B5EF4-FFF2-40B4-BE49-F238E27FC236}">
                <a16:creationId xmlns:a16="http://schemas.microsoft.com/office/drawing/2014/main" id="{491E7374-E8E2-4556-8DF5-CBFDF91FEECA}"/>
              </a:ext>
            </a:extLst>
          </p:cNvPr>
          <p:cNvPicPr>
            <a:picLocks noChangeAspect="1"/>
          </p:cNvPicPr>
          <p:nvPr/>
        </p:nvPicPr>
        <p:blipFill rotWithShape="1">
          <a:blip r:embed="rId3"/>
          <a:srcRect l="104" b="9578"/>
          <a:stretch/>
        </p:blipFill>
        <p:spPr>
          <a:xfrm>
            <a:off x="4519476" y="2123382"/>
            <a:ext cx="7183849" cy="4039832"/>
          </a:xfrm>
          <a:prstGeom prst="rect">
            <a:avLst/>
          </a:prstGeom>
        </p:spPr>
      </p:pic>
    </p:spTree>
    <p:extLst>
      <p:ext uri="{BB962C8B-B14F-4D97-AF65-F5344CB8AC3E}">
        <p14:creationId xmlns:p14="http://schemas.microsoft.com/office/powerpoint/2010/main" val="399839624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900767" y="216811"/>
            <a:ext cx="6198623" cy="3821481"/>
            <a:chOff x="4999037" y="220662"/>
            <a:chExt cx="6322918" cy="3898110"/>
          </a:xfrm>
        </p:grpSpPr>
        <p:pic>
          <p:nvPicPr>
            <p:cNvPr id="7" name="Snagit_PPT27C8"/>
            <p:cNvPicPr>
              <a:picLocks noChangeAspect="1"/>
            </p:cNvPicPr>
            <p:nvPr/>
          </p:nvPicPr>
          <p:blipFill>
            <a:blip r:embed="rId2"/>
            <a:stretch>
              <a:fillRect/>
            </a:stretch>
          </p:blipFill>
          <p:spPr>
            <a:xfrm>
              <a:off x="4999037" y="220662"/>
              <a:ext cx="6322918" cy="3898110"/>
            </a:xfrm>
            <a:prstGeom prst="rect">
              <a:avLst/>
            </a:prstGeom>
          </p:spPr>
        </p:pic>
        <p:sp>
          <p:nvSpPr>
            <p:cNvPr id="6" name="Rectangle 5"/>
            <p:cNvSpPr/>
            <p:nvPr/>
          </p:nvSpPr>
          <p:spPr bwMode="auto">
            <a:xfrm>
              <a:off x="4999037" y="373062"/>
              <a:ext cx="1447800"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269239" y="560751"/>
            <a:ext cx="4033912" cy="5669578"/>
          </a:xfrm>
        </p:spPr>
        <p:txBody>
          <a:bodyPr/>
          <a:lstStyle/>
          <a:p>
            <a:r>
              <a:rPr lang="en-US" dirty="0"/>
              <a:t>Gain insight into the security state of subscriptions in Power BI</a:t>
            </a:r>
          </a:p>
        </p:txBody>
      </p:sp>
      <p:sp>
        <p:nvSpPr>
          <p:cNvPr id="8" name="Rectangle 7"/>
          <p:cNvSpPr/>
          <p:nvPr/>
        </p:nvSpPr>
        <p:spPr bwMode="auto">
          <a:xfrm>
            <a:off x="6917723" y="515620"/>
            <a:ext cx="481421" cy="481421"/>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a:stretch/>
        </p:blipFill>
        <p:spPr>
          <a:xfrm>
            <a:off x="5722490" y="2308469"/>
            <a:ext cx="6229536" cy="4376823"/>
          </a:xfrm>
          <a:prstGeom prst="rect">
            <a:avLst/>
          </a:prstGeom>
          <a:ln>
            <a:solidFill>
              <a:schemeClr val="bg1">
                <a:lumMod val="75000"/>
              </a:schemeClr>
            </a:solidFill>
          </a:ln>
        </p:spPr>
      </p:pic>
    </p:spTree>
    <p:extLst>
      <p:ext uri="{BB962C8B-B14F-4D97-AF65-F5344CB8AC3E}">
        <p14:creationId xmlns:p14="http://schemas.microsoft.com/office/powerpoint/2010/main" val="2480667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6" y="561158"/>
            <a:ext cx="4332105" cy="5668774"/>
          </a:xfrm>
        </p:spPr>
        <p:txBody>
          <a:bodyPr/>
          <a:lstStyle/>
          <a:p>
            <a:r>
              <a:rPr lang="en-US" dirty="0"/>
              <a:t>Access security data in near real-time from your Security Information and Event Management (SIEM)</a:t>
            </a:r>
          </a:p>
        </p:txBody>
      </p:sp>
      <p:sp>
        <p:nvSpPr>
          <p:cNvPr id="9" name="Freeform 206"/>
          <p:cNvSpPr>
            <a:spLocks/>
          </p:cNvSpPr>
          <p:nvPr/>
        </p:nvSpPr>
        <p:spPr bwMode="auto">
          <a:xfrm>
            <a:off x="9863439" y="3669084"/>
            <a:ext cx="1228382" cy="80696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41"/>
            <a:endParaRPr lang="en-US" sz="1765" dirty="0">
              <a:solidFill>
                <a:srgbClr val="000000"/>
              </a:solidFill>
            </a:endParaRPr>
          </a:p>
        </p:txBody>
      </p:sp>
      <p:cxnSp>
        <p:nvCxnSpPr>
          <p:cNvPr id="10" name="Straight Arrow Connector 9"/>
          <p:cNvCxnSpPr/>
          <p:nvPr/>
        </p:nvCxnSpPr>
        <p:spPr>
          <a:xfrm>
            <a:off x="5722591" y="4680819"/>
            <a:ext cx="1943903" cy="0"/>
          </a:xfrm>
          <a:prstGeom prst="straightConnector1">
            <a:avLst/>
          </a:prstGeom>
          <a:noFill/>
          <a:ln w="9525" cap="flat" cmpd="sng" algn="ctr">
            <a:solidFill>
              <a:srgbClr val="0070C0"/>
            </a:solidFill>
            <a:prstDash val="solid"/>
            <a:miter lim="800000"/>
            <a:headEnd type="none" w="med" len="med"/>
            <a:tailEnd type="triangle" w="med" len="med"/>
          </a:ln>
          <a:effectLst/>
        </p:spPr>
      </p:cxnSp>
      <p:sp>
        <p:nvSpPr>
          <p:cNvPr id="11" name="Rectangle 10"/>
          <p:cNvSpPr/>
          <p:nvPr/>
        </p:nvSpPr>
        <p:spPr>
          <a:xfrm>
            <a:off x="9413066" y="3625017"/>
            <a:ext cx="2417942" cy="22122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a:solidFill>
                <a:prstClr val="white"/>
              </a:solidFill>
            </a:endParaRPr>
          </a:p>
        </p:txBody>
      </p:sp>
      <p:sp>
        <p:nvSpPr>
          <p:cNvPr id="12" name="TextBox 11"/>
          <p:cNvSpPr txBox="1"/>
          <p:nvPr/>
        </p:nvSpPr>
        <p:spPr>
          <a:xfrm>
            <a:off x="6383845" y="4900696"/>
            <a:ext cx="1620254" cy="193899"/>
          </a:xfrm>
          <a:prstGeom prst="rect">
            <a:avLst/>
          </a:prstGeom>
          <a:noFill/>
        </p:spPr>
        <p:txBody>
          <a:bodyPr wrap="square" lIns="0" tIns="0" rIns="0" bIns="0" rtlCol="0">
            <a:spAutoFit/>
          </a:bodyPr>
          <a:lstStyle/>
          <a:p>
            <a:pPr algn="ctr" defTabSz="913698">
              <a:lnSpc>
                <a:spcPct val="90000"/>
              </a:lnSpc>
            </a:pPr>
            <a:r>
              <a:rPr lang="en-US" sz="1400" dirty="0">
                <a:solidFill>
                  <a:prstClr val="black">
                    <a:lumMod val="50000"/>
                    <a:lumOff val="50000"/>
                  </a:prstClr>
                </a:solidFill>
                <a:cs typeface="Segoe UI" panose="020B0502040204020203" pitchFamily="34" charset="0"/>
              </a:rPr>
              <a:t>Export Logs</a:t>
            </a:r>
          </a:p>
        </p:txBody>
      </p:sp>
      <p:pic>
        <p:nvPicPr>
          <p:cNvPr id="13" name="Picture 12"/>
          <p:cNvPicPr>
            <a:picLocks noChangeAspect="1"/>
          </p:cNvPicPr>
          <p:nvPr/>
        </p:nvPicPr>
        <p:blipFill>
          <a:blip r:embed="rId3"/>
          <a:stretch>
            <a:fillRect/>
          </a:stretch>
        </p:blipFill>
        <p:spPr>
          <a:xfrm>
            <a:off x="10341471" y="4187036"/>
            <a:ext cx="1239550" cy="1650199"/>
          </a:xfrm>
          <a:prstGeom prst="rect">
            <a:avLst/>
          </a:prstGeom>
        </p:spPr>
      </p:pic>
      <p:sp>
        <p:nvSpPr>
          <p:cNvPr id="14" name="Oval 13"/>
          <p:cNvSpPr/>
          <p:nvPr/>
        </p:nvSpPr>
        <p:spPr>
          <a:xfrm>
            <a:off x="8970990" y="4086945"/>
            <a:ext cx="1113924" cy="1113924"/>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698"/>
            <a:r>
              <a:rPr lang="en-US" sz="1400" dirty="0">
                <a:solidFill>
                  <a:prstClr val="black">
                    <a:lumMod val="50000"/>
                    <a:lumOff val="50000"/>
                  </a:prstClr>
                </a:solidFill>
                <a:cs typeface="Segoe UI" panose="020B0502040204020203" pitchFamily="34" charset="0"/>
              </a:rPr>
              <a:t>Log Analytics/SIEM</a:t>
            </a:r>
            <a:endParaRPr lang="en-US" sz="1050" dirty="0">
              <a:solidFill>
                <a:prstClr val="black">
                  <a:lumMod val="50000"/>
                  <a:lumOff val="50000"/>
                </a:prstClr>
              </a:solidFill>
              <a:cs typeface="Segoe UI" panose="020B0502040204020203" pitchFamily="34" charset="0"/>
            </a:endParaRPr>
          </a:p>
        </p:txBody>
      </p:sp>
      <p:cxnSp>
        <p:nvCxnSpPr>
          <p:cNvPr id="15" name="Straight Arrow Connector 14"/>
          <p:cNvCxnSpPr>
            <a:stCxn id="17" idx="11"/>
            <a:endCxn id="61" idx="0"/>
          </p:cNvCxnSpPr>
          <p:nvPr/>
        </p:nvCxnSpPr>
        <p:spPr>
          <a:xfrm>
            <a:off x="6632217" y="2416992"/>
            <a:ext cx="21410" cy="1208026"/>
          </a:xfrm>
          <a:prstGeom prst="straightConnector1">
            <a:avLst/>
          </a:prstGeom>
          <a:noFill/>
          <a:ln w="9525" cap="flat" cmpd="sng" algn="ctr">
            <a:solidFill>
              <a:srgbClr val="0070C0"/>
            </a:solidFill>
            <a:prstDash val="solid"/>
            <a:miter lim="800000"/>
            <a:headEnd type="none" w="med" len="med"/>
            <a:tailEnd type="triangle" w="med" len="med"/>
          </a:ln>
          <a:effectLst/>
        </p:spPr>
      </p:cxnSp>
      <p:cxnSp>
        <p:nvCxnSpPr>
          <p:cNvPr id="16" name="Straight Arrow Connector 15"/>
          <p:cNvCxnSpPr/>
          <p:nvPr/>
        </p:nvCxnSpPr>
        <p:spPr>
          <a:xfrm flipV="1">
            <a:off x="8629754" y="1948902"/>
            <a:ext cx="943496" cy="7549"/>
          </a:xfrm>
          <a:prstGeom prst="straightConnector1">
            <a:avLst/>
          </a:prstGeom>
          <a:noFill/>
          <a:ln w="9525" cap="flat" cmpd="sng" algn="ctr">
            <a:solidFill>
              <a:srgbClr val="0070C0"/>
            </a:solidFill>
            <a:prstDash val="solid"/>
            <a:miter lim="800000"/>
            <a:headEnd type="none" w="med" len="med"/>
            <a:tailEnd type="triangle" w="med" len="med"/>
          </a:ln>
          <a:effectLst/>
        </p:spPr>
      </p:cxnSp>
      <p:sp>
        <p:nvSpPr>
          <p:cNvPr id="17" name="Freeform 95"/>
          <p:cNvSpPr>
            <a:spLocks/>
          </p:cNvSpPr>
          <p:nvPr/>
        </p:nvSpPr>
        <p:spPr bwMode="auto">
          <a:xfrm flipH="1">
            <a:off x="5722544" y="366650"/>
            <a:ext cx="2923666" cy="20503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w="76200">
            <a:solidFill>
              <a:srgbClr val="0070C0"/>
            </a:solidFill>
            <a:round/>
            <a:headEnd/>
            <a:tailEnd/>
          </a:ln>
        </p:spPr>
        <p:txBody>
          <a:bodyPr vert="horz" wrap="square" lIns="91388" tIns="45694" rIns="91388" bIns="45694" numCol="1" anchor="t" anchorCtr="0" compatLnSpc="1">
            <a:prstTxWarp prst="textNoShape">
              <a:avLst/>
            </a:prstTxWarp>
          </a:bodyPr>
          <a:lstStyle/>
          <a:p>
            <a:pPr defTabSz="913698"/>
            <a:endParaRPr lang="en-US" kern="0">
              <a:solidFill>
                <a:srgbClr val="505050"/>
              </a:solidFill>
            </a:endParaRPr>
          </a:p>
        </p:txBody>
      </p:sp>
      <p:sp>
        <p:nvSpPr>
          <p:cNvPr id="18" name="Rectangle 17"/>
          <p:cNvSpPr/>
          <p:nvPr/>
        </p:nvSpPr>
        <p:spPr>
          <a:xfrm>
            <a:off x="6258201" y="1250308"/>
            <a:ext cx="322044" cy="322044"/>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dirty="0">
              <a:solidFill>
                <a:prstClr val="white"/>
              </a:solidFill>
            </a:endParaRPr>
          </a:p>
        </p:txBody>
      </p:sp>
      <p:sp>
        <p:nvSpPr>
          <p:cNvPr id="19" name="Rectangle 18"/>
          <p:cNvSpPr/>
          <p:nvPr/>
        </p:nvSpPr>
        <p:spPr>
          <a:xfrm>
            <a:off x="6210823" y="1622746"/>
            <a:ext cx="374377" cy="37437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dirty="0">
              <a:solidFill>
                <a:prstClr val="white"/>
              </a:solidFill>
            </a:endParaRPr>
          </a:p>
        </p:txBody>
      </p:sp>
      <p:sp>
        <p:nvSpPr>
          <p:cNvPr id="20" name="Rectangle 19"/>
          <p:cNvSpPr/>
          <p:nvPr/>
        </p:nvSpPr>
        <p:spPr>
          <a:xfrm>
            <a:off x="6631995" y="1619416"/>
            <a:ext cx="701153" cy="701154"/>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dirty="0">
              <a:solidFill>
                <a:prstClr val="white"/>
              </a:solidFill>
            </a:endParaRPr>
          </a:p>
        </p:txBody>
      </p:sp>
      <p:pic>
        <p:nvPicPr>
          <p:cNvPr id="21" name="Picture 4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685749" y="1706723"/>
            <a:ext cx="602654" cy="551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p:cNvGrpSpPr/>
          <p:nvPr/>
        </p:nvGrpSpPr>
        <p:grpSpPr>
          <a:xfrm>
            <a:off x="6637049" y="916221"/>
            <a:ext cx="660084" cy="660084"/>
            <a:chOff x="-615909" y="1650154"/>
            <a:chExt cx="559118" cy="559118"/>
          </a:xfrm>
        </p:grpSpPr>
        <p:sp>
          <p:nvSpPr>
            <p:cNvPr id="23" name="Rectangle 22"/>
            <p:cNvSpPr/>
            <p:nvPr/>
          </p:nvSpPr>
          <p:spPr>
            <a:xfrm>
              <a:off x="-615909" y="1650154"/>
              <a:ext cx="559118" cy="55911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dirty="0">
                <a:solidFill>
                  <a:prstClr val="white"/>
                </a:solidFill>
              </a:endParaRPr>
            </a:p>
          </p:txBody>
        </p:sp>
        <p:pic>
          <p:nvPicPr>
            <p:cNvPr id="24"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588640" y="1712635"/>
              <a:ext cx="502959" cy="423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Picture 31"/>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6279173" y="1305084"/>
            <a:ext cx="296418" cy="19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9"/>
          <p:cNvSpPr>
            <a:spLocks/>
          </p:cNvSpPr>
          <p:nvPr/>
        </p:nvSpPr>
        <p:spPr bwMode="auto">
          <a:xfrm>
            <a:off x="6270762" y="1657007"/>
            <a:ext cx="261437" cy="298072"/>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rgbClr val="FFFFFF"/>
          </a:solidFill>
          <a:ln>
            <a:noFill/>
          </a:ln>
        </p:spPr>
        <p:txBody>
          <a:bodyPr vert="horz" wrap="square" lIns="91388" tIns="45694" rIns="91388" bIns="45694" numCol="1" anchor="t" anchorCtr="0" compatLnSpc="1">
            <a:prstTxWarp prst="textNoShape">
              <a:avLst/>
            </a:prstTxWarp>
          </a:bodyPr>
          <a:lstStyle/>
          <a:p>
            <a:pPr defTabSz="456849"/>
            <a:endParaRPr lang="en-US" dirty="0">
              <a:solidFill>
                <a:prstClr val="white"/>
              </a:solidFill>
            </a:endParaRPr>
          </a:p>
        </p:txBody>
      </p:sp>
      <p:cxnSp>
        <p:nvCxnSpPr>
          <p:cNvPr id="27" name="Straight Connector 26"/>
          <p:cNvCxnSpPr/>
          <p:nvPr/>
        </p:nvCxnSpPr>
        <p:spPr>
          <a:xfrm flipH="1">
            <a:off x="6398013" y="1634251"/>
            <a:ext cx="3466" cy="353151"/>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270209" y="1802190"/>
            <a:ext cx="26198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8520728" y="2066232"/>
            <a:ext cx="1033299" cy="276999"/>
          </a:xfrm>
          <a:prstGeom prst="rect">
            <a:avLst/>
          </a:prstGeom>
          <a:noFill/>
        </p:spPr>
        <p:txBody>
          <a:bodyPr wrap="square" lIns="0" tIns="0" rIns="0" bIns="0" rtlCol="0">
            <a:spAutoFit/>
          </a:bodyPr>
          <a:lstStyle/>
          <a:p>
            <a:pPr algn="ctr" defTabSz="913698">
              <a:lnSpc>
                <a:spcPct val="90000"/>
              </a:lnSpc>
            </a:pPr>
            <a:r>
              <a:rPr lang="en-US" sz="1000" dirty="0">
                <a:solidFill>
                  <a:prstClr val="black">
                    <a:lumMod val="50000"/>
                    <a:lumOff val="50000"/>
                  </a:prstClr>
                </a:solidFill>
                <a:cs typeface="Segoe UI" panose="020B0502040204020203" pitchFamily="34" charset="0"/>
              </a:rPr>
              <a:t>Azure </a:t>
            </a:r>
          </a:p>
          <a:p>
            <a:pPr algn="ctr" defTabSz="913698">
              <a:lnSpc>
                <a:spcPct val="90000"/>
              </a:lnSpc>
            </a:pPr>
            <a:r>
              <a:rPr lang="en-US" sz="1000" dirty="0">
                <a:solidFill>
                  <a:prstClr val="black">
                    <a:lumMod val="50000"/>
                    <a:lumOff val="50000"/>
                  </a:prstClr>
                </a:solidFill>
                <a:cs typeface="Segoe UI" panose="020B0502040204020203" pitchFamily="34" charset="0"/>
              </a:rPr>
              <a:t>Diagnostics</a:t>
            </a:r>
          </a:p>
        </p:txBody>
      </p:sp>
      <p:sp>
        <p:nvSpPr>
          <p:cNvPr id="30" name="Rectangle 29"/>
          <p:cNvSpPr/>
          <p:nvPr/>
        </p:nvSpPr>
        <p:spPr>
          <a:xfrm>
            <a:off x="6182802" y="490562"/>
            <a:ext cx="1594242" cy="307777"/>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7679" fontAlgn="base">
              <a:spcAft>
                <a:spcPct val="0"/>
              </a:spcAft>
              <a:defRPr/>
            </a:pPr>
            <a:r>
              <a:rPr lang="en-US" sz="2000" dirty="0">
                <a:ln>
                  <a:solidFill>
                    <a:srgbClr val="FFFFFF">
                      <a:alpha val="0"/>
                    </a:srgbClr>
                  </a:solidFill>
                </a:ln>
                <a:solidFill>
                  <a:srgbClr val="505050"/>
                </a:solidFill>
                <a:latin typeface="Segoe UI Light" panose="020B0502040204020203" pitchFamily="34" charset="0"/>
                <a:cs typeface="Segoe UI Light" panose="020B0502040204020203" pitchFamily="34" charset="0"/>
              </a:rPr>
              <a:t>Azure</a:t>
            </a:r>
          </a:p>
        </p:txBody>
      </p:sp>
      <p:grpSp>
        <p:nvGrpSpPr>
          <p:cNvPr id="31" name="Group 30"/>
          <p:cNvGrpSpPr/>
          <p:nvPr/>
        </p:nvGrpSpPr>
        <p:grpSpPr>
          <a:xfrm>
            <a:off x="7374165" y="1623892"/>
            <a:ext cx="468275" cy="468276"/>
            <a:chOff x="2213803" y="1923514"/>
            <a:chExt cx="607379" cy="607380"/>
          </a:xfrm>
        </p:grpSpPr>
        <p:sp>
          <p:nvSpPr>
            <p:cNvPr id="32" name="Rectangle 31"/>
            <p:cNvSpPr/>
            <p:nvPr/>
          </p:nvSpPr>
          <p:spPr>
            <a:xfrm>
              <a:off x="2213803" y="1923514"/>
              <a:ext cx="607379" cy="60738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dirty="0">
                <a:solidFill>
                  <a:prstClr val="white"/>
                </a:solidFill>
              </a:endParaRPr>
            </a:p>
          </p:txBody>
        </p:sp>
        <p:grpSp>
          <p:nvGrpSpPr>
            <p:cNvPr id="33" name="Group 32"/>
            <p:cNvGrpSpPr>
              <a:grpSpLocks noChangeAspect="1"/>
            </p:cNvGrpSpPr>
            <p:nvPr/>
          </p:nvGrpSpPr>
          <p:grpSpPr bwMode="auto">
            <a:xfrm>
              <a:off x="2266950" y="2011363"/>
              <a:ext cx="522288" cy="477837"/>
              <a:chOff x="1428" y="1267"/>
              <a:chExt cx="329" cy="301"/>
            </a:xfrm>
          </p:grpSpPr>
          <p:sp>
            <p:nvSpPr>
              <p:cNvPr id="35" name="AutoShape 3"/>
              <p:cNvSpPr>
                <a:spLocks noChangeAspect="1" noChangeArrowheads="1" noTextEdit="1"/>
              </p:cNvSpPr>
              <p:nvPr/>
            </p:nvSpPr>
            <p:spPr bwMode="auto">
              <a:xfrm>
                <a:off x="1428" y="1267"/>
                <a:ext cx="329" cy="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13698"/>
                <a:endParaRPr lang="en-US">
                  <a:solidFill>
                    <a:prstClr val="black"/>
                  </a:solidFill>
                </a:endParaRPr>
              </a:p>
            </p:txBody>
          </p:sp>
          <p:sp>
            <p:nvSpPr>
              <p:cNvPr id="36" name="Freeform 5"/>
              <p:cNvSpPr>
                <a:spLocks noEditPoints="1"/>
              </p:cNvSpPr>
              <p:nvPr/>
            </p:nvSpPr>
            <p:spPr bwMode="auto">
              <a:xfrm>
                <a:off x="1436" y="1275"/>
                <a:ext cx="316" cy="29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0">
                <a:noFill/>
                <a:prstDash val="solid"/>
                <a:round/>
                <a:headEnd/>
                <a:tailEnd/>
              </a:ln>
            </p:spPr>
            <p:txBody>
              <a:bodyPr vert="horz" wrap="square" lIns="91388" tIns="45694" rIns="91388" bIns="45694" numCol="1" anchor="t" anchorCtr="0" compatLnSpc="1">
                <a:prstTxWarp prst="textNoShape">
                  <a:avLst/>
                </a:prstTxWarp>
              </a:bodyPr>
              <a:lstStyle/>
              <a:p>
                <a:pPr defTabSz="913698"/>
                <a:endParaRPr lang="en-US">
                  <a:solidFill>
                    <a:prstClr val="black"/>
                  </a:solidFill>
                </a:endParaRPr>
              </a:p>
            </p:txBody>
          </p:sp>
        </p:grpSp>
        <p:pic>
          <p:nvPicPr>
            <p:cNvPr id="34" name="Picture 33"/>
            <p:cNvPicPr>
              <a:picLocks noChangeAspect="1"/>
            </p:cNvPicPr>
            <p:nvPr/>
          </p:nvPicPr>
          <p:blipFill rotWithShape="1">
            <a:blip r:embed="rId7"/>
            <a:srcRect l="43495" t="11743" r="53350" b="83546"/>
            <a:stretch/>
          </p:blipFill>
          <p:spPr>
            <a:xfrm>
              <a:off x="2361458" y="2077236"/>
              <a:ext cx="317227" cy="266470"/>
            </a:xfrm>
            <a:prstGeom prst="rect">
              <a:avLst/>
            </a:prstGeom>
          </p:spPr>
        </p:pic>
      </p:grpSp>
      <p:sp>
        <p:nvSpPr>
          <p:cNvPr id="37" name="Freeform 95"/>
          <p:cNvSpPr>
            <a:spLocks/>
          </p:cNvSpPr>
          <p:nvPr/>
        </p:nvSpPr>
        <p:spPr bwMode="auto">
          <a:xfrm flipH="1">
            <a:off x="7437839" y="416611"/>
            <a:ext cx="1569610" cy="110075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w="28575">
            <a:solidFill>
              <a:srgbClr val="0070C0"/>
            </a:solidFill>
            <a:round/>
            <a:headEnd/>
            <a:tailEnd/>
          </a:ln>
        </p:spPr>
        <p:txBody>
          <a:bodyPr vert="horz" wrap="square" lIns="91388" tIns="45694" rIns="91388" bIns="45694" numCol="1" anchor="t" anchorCtr="0" compatLnSpc="1">
            <a:prstTxWarp prst="textNoShape">
              <a:avLst/>
            </a:prstTxWarp>
          </a:bodyPr>
          <a:lstStyle/>
          <a:p>
            <a:pPr defTabSz="913698"/>
            <a:endParaRPr lang="en-US" kern="0">
              <a:solidFill>
                <a:srgbClr val="505050"/>
              </a:solidFill>
            </a:endParaRPr>
          </a:p>
        </p:txBody>
      </p:sp>
      <p:grpSp>
        <p:nvGrpSpPr>
          <p:cNvPr id="38" name="Group 37"/>
          <p:cNvGrpSpPr/>
          <p:nvPr/>
        </p:nvGrpSpPr>
        <p:grpSpPr>
          <a:xfrm>
            <a:off x="7897441" y="1622533"/>
            <a:ext cx="468275" cy="468276"/>
            <a:chOff x="2810282" y="1934426"/>
            <a:chExt cx="563602" cy="563603"/>
          </a:xfrm>
        </p:grpSpPr>
        <p:grpSp>
          <p:nvGrpSpPr>
            <p:cNvPr id="39" name="Group 38"/>
            <p:cNvGrpSpPr/>
            <p:nvPr/>
          </p:nvGrpSpPr>
          <p:grpSpPr>
            <a:xfrm>
              <a:off x="2810282" y="1934426"/>
              <a:ext cx="563602" cy="563603"/>
              <a:chOff x="2213803" y="1923514"/>
              <a:chExt cx="607379" cy="607380"/>
            </a:xfrm>
          </p:grpSpPr>
          <p:sp>
            <p:nvSpPr>
              <p:cNvPr id="41" name="Rectangle 40"/>
              <p:cNvSpPr/>
              <p:nvPr/>
            </p:nvSpPr>
            <p:spPr>
              <a:xfrm>
                <a:off x="2213803" y="1923514"/>
                <a:ext cx="607379" cy="60738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dirty="0">
                  <a:solidFill>
                    <a:prstClr val="white"/>
                  </a:solidFill>
                </a:endParaRPr>
              </a:p>
            </p:txBody>
          </p:sp>
          <p:grpSp>
            <p:nvGrpSpPr>
              <p:cNvPr id="42" name="Group 41"/>
              <p:cNvGrpSpPr>
                <a:grpSpLocks noChangeAspect="1"/>
              </p:cNvGrpSpPr>
              <p:nvPr/>
            </p:nvGrpSpPr>
            <p:grpSpPr bwMode="auto">
              <a:xfrm>
                <a:off x="2266950" y="2011363"/>
                <a:ext cx="522288" cy="477837"/>
                <a:chOff x="1428" y="1267"/>
                <a:chExt cx="329" cy="301"/>
              </a:xfrm>
            </p:grpSpPr>
            <p:sp>
              <p:nvSpPr>
                <p:cNvPr id="43" name="AutoShape 3"/>
                <p:cNvSpPr>
                  <a:spLocks noChangeAspect="1" noChangeArrowheads="1" noTextEdit="1"/>
                </p:cNvSpPr>
                <p:nvPr/>
              </p:nvSpPr>
              <p:spPr bwMode="auto">
                <a:xfrm>
                  <a:off x="1428" y="1267"/>
                  <a:ext cx="329" cy="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13698"/>
                  <a:endParaRPr lang="en-US">
                    <a:solidFill>
                      <a:prstClr val="black"/>
                    </a:solidFill>
                  </a:endParaRPr>
                </a:p>
              </p:txBody>
            </p:sp>
            <p:sp>
              <p:nvSpPr>
                <p:cNvPr id="44" name="Freeform 5"/>
                <p:cNvSpPr>
                  <a:spLocks noEditPoints="1"/>
                </p:cNvSpPr>
                <p:nvPr/>
              </p:nvSpPr>
              <p:spPr bwMode="auto">
                <a:xfrm>
                  <a:off x="1436" y="1275"/>
                  <a:ext cx="316" cy="29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bg1"/>
                </a:solidFill>
                <a:ln w="0">
                  <a:noFill/>
                  <a:prstDash val="solid"/>
                  <a:round/>
                  <a:headEnd/>
                  <a:tailEnd/>
                </a:ln>
              </p:spPr>
              <p:txBody>
                <a:bodyPr vert="horz" wrap="square" lIns="91388" tIns="45694" rIns="91388" bIns="45694" numCol="1" anchor="t" anchorCtr="0" compatLnSpc="1">
                  <a:prstTxWarp prst="textNoShape">
                    <a:avLst/>
                  </a:prstTxWarp>
                </a:bodyPr>
                <a:lstStyle/>
                <a:p>
                  <a:pPr defTabSz="913698"/>
                  <a:endParaRPr lang="en-US">
                    <a:solidFill>
                      <a:prstClr val="black"/>
                    </a:solidFill>
                  </a:endParaRPr>
                </a:p>
              </p:txBody>
            </p:sp>
          </p:grpSp>
        </p:grpSp>
        <p:pic>
          <p:nvPicPr>
            <p:cNvPr id="40" name="Picture 39"/>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contrast="64000"/>
                      </a14:imgEffect>
                    </a14:imgLayer>
                  </a14:imgProps>
                </a:ext>
                <a:ext uri="{28A0092B-C50C-407E-A947-70E740481C1C}">
                  <a14:useLocalDpi xmlns:a14="http://schemas.microsoft.com/office/drawing/2010/main" val="0"/>
                </a:ext>
              </a:extLst>
            </a:blip>
            <a:srcRect l="2897" t="26916" r="82355" b="31287"/>
            <a:stretch/>
          </p:blipFill>
          <p:spPr>
            <a:xfrm>
              <a:off x="2977551" y="2060730"/>
              <a:ext cx="244281" cy="251465"/>
            </a:xfrm>
            <a:prstGeom prst="rect">
              <a:avLst/>
            </a:prstGeom>
          </p:spPr>
        </p:pic>
      </p:grpSp>
      <p:grpSp>
        <p:nvGrpSpPr>
          <p:cNvPr id="45" name="Group 44"/>
          <p:cNvGrpSpPr/>
          <p:nvPr/>
        </p:nvGrpSpPr>
        <p:grpSpPr>
          <a:xfrm>
            <a:off x="7649462" y="949329"/>
            <a:ext cx="575992" cy="484818"/>
            <a:chOff x="677708" y="1094245"/>
            <a:chExt cx="1878404" cy="1581069"/>
          </a:xfrm>
        </p:grpSpPr>
        <p:pic>
          <p:nvPicPr>
            <p:cNvPr id="46"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677708" y="1094245"/>
              <a:ext cx="1878404" cy="158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Oval 46"/>
            <p:cNvSpPr/>
            <p:nvPr/>
          </p:nvSpPr>
          <p:spPr>
            <a:xfrm>
              <a:off x="1015489" y="1452671"/>
              <a:ext cx="1344629" cy="9380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a:solidFill>
                  <a:prstClr val="white"/>
                </a:solidFill>
              </a:endParaRPr>
            </a:p>
          </p:txBody>
        </p:sp>
      </p:grpSp>
      <p:grpSp>
        <p:nvGrpSpPr>
          <p:cNvPr id="48" name="Group 47"/>
          <p:cNvGrpSpPr/>
          <p:nvPr/>
        </p:nvGrpSpPr>
        <p:grpSpPr>
          <a:xfrm>
            <a:off x="8298697" y="827397"/>
            <a:ext cx="587598" cy="494587"/>
            <a:chOff x="677708" y="1094245"/>
            <a:chExt cx="1878404" cy="1581069"/>
          </a:xfrm>
        </p:grpSpPr>
        <p:pic>
          <p:nvPicPr>
            <p:cNvPr id="49"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677708" y="1094245"/>
              <a:ext cx="1878404" cy="158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Oval 49"/>
            <p:cNvSpPr/>
            <p:nvPr/>
          </p:nvSpPr>
          <p:spPr>
            <a:xfrm>
              <a:off x="1015489" y="1452671"/>
              <a:ext cx="1344629" cy="9380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endParaRPr lang="en-US">
                <a:solidFill>
                  <a:prstClr val="white"/>
                </a:solidFill>
              </a:endParaRPr>
            </a:p>
          </p:txBody>
        </p:sp>
      </p:grpSp>
      <p:sp>
        <p:nvSpPr>
          <p:cNvPr id="51" name="Rectangle 50"/>
          <p:cNvSpPr/>
          <p:nvPr/>
        </p:nvSpPr>
        <p:spPr>
          <a:xfrm>
            <a:off x="7781366" y="1104301"/>
            <a:ext cx="350079" cy="169277"/>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7679" fontAlgn="base">
              <a:spcAft>
                <a:spcPct val="0"/>
              </a:spcAft>
              <a:defRPr/>
            </a:pPr>
            <a:r>
              <a:rPr lang="en-US" sz="1100" b="1" dirty="0">
                <a:ln>
                  <a:solidFill>
                    <a:srgbClr val="FFFFFF">
                      <a:alpha val="0"/>
                    </a:srgbClr>
                  </a:solidFill>
                </a:ln>
                <a:solidFill>
                  <a:prstClr val="black">
                    <a:lumMod val="50000"/>
                    <a:lumOff val="50000"/>
                  </a:prstClr>
                </a:solidFill>
                <a:latin typeface="Segoe UI Light" panose="020B0502040204020203" pitchFamily="34" charset="0"/>
                <a:cs typeface="Segoe UI Light" panose="020B0502040204020203" pitchFamily="34" charset="0"/>
              </a:rPr>
              <a:t>WAF</a:t>
            </a:r>
          </a:p>
        </p:txBody>
      </p:sp>
      <p:sp>
        <p:nvSpPr>
          <p:cNvPr id="52" name="Rectangle 51"/>
          <p:cNvSpPr/>
          <p:nvPr/>
        </p:nvSpPr>
        <p:spPr>
          <a:xfrm>
            <a:off x="8401799" y="989181"/>
            <a:ext cx="350079" cy="169277"/>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7679" fontAlgn="base">
              <a:spcAft>
                <a:spcPct val="0"/>
              </a:spcAft>
              <a:defRPr/>
            </a:pPr>
            <a:r>
              <a:rPr lang="en-US" sz="1100" b="1" dirty="0">
                <a:ln>
                  <a:solidFill>
                    <a:srgbClr val="FFFFFF">
                      <a:alpha val="0"/>
                    </a:srgbClr>
                  </a:solidFill>
                </a:ln>
                <a:solidFill>
                  <a:prstClr val="black">
                    <a:lumMod val="50000"/>
                    <a:lumOff val="50000"/>
                  </a:prstClr>
                </a:solidFill>
                <a:latin typeface="Segoe UI Light" panose="020B0502040204020203" pitchFamily="34" charset="0"/>
                <a:cs typeface="Segoe UI Light" panose="020B0502040204020203" pitchFamily="34" charset="0"/>
              </a:rPr>
              <a:t>DDoS</a:t>
            </a:r>
          </a:p>
        </p:txBody>
      </p:sp>
      <p:sp>
        <p:nvSpPr>
          <p:cNvPr id="53" name="Rectangle 52"/>
          <p:cNvSpPr/>
          <p:nvPr/>
        </p:nvSpPr>
        <p:spPr>
          <a:xfrm>
            <a:off x="7806559" y="635105"/>
            <a:ext cx="732187" cy="215444"/>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7679" fontAlgn="base">
              <a:spcAft>
                <a:spcPct val="0"/>
              </a:spcAft>
              <a:defRPr/>
            </a:pPr>
            <a:r>
              <a:rPr lang="en-US" sz="1400" dirty="0">
                <a:ln>
                  <a:solidFill>
                    <a:srgbClr val="FFFFFF">
                      <a:alpha val="0"/>
                    </a:srgbClr>
                  </a:solidFill>
                </a:ln>
                <a:solidFill>
                  <a:prstClr val="black">
                    <a:lumMod val="65000"/>
                    <a:lumOff val="35000"/>
                  </a:prstClr>
                </a:solidFill>
                <a:latin typeface="Segoe UI Light" panose="020B0502040204020203" pitchFamily="34" charset="0"/>
                <a:cs typeface="Segoe UI Light" panose="020B0502040204020203" pitchFamily="34" charset="0"/>
              </a:rPr>
              <a:t>Partners</a:t>
            </a:r>
          </a:p>
        </p:txBody>
      </p:sp>
      <p:pic>
        <p:nvPicPr>
          <p:cNvPr id="54" name="Picture 5"/>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6437180" y="4517393"/>
            <a:ext cx="303299" cy="26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6"/>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6671370" y="4655919"/>
            <a:ext cx="296134" cy="257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6" name="Straight Connector 55"/>
          <p:cNvCxnSpPr/>
          <p:nvPr/>
        </p:nvCxnSpPr>
        <p:spPr>
          <a:xfrm>
            <a:off x="6262367" y="4452580"/>
            <a:ext cx="0" cy="61089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Flowchart: Magnetic Disk 56"/>
          <p:cNvSpPr/>
          <p:nvPr/>
        </p:nvSpPr>
        <p:spPr>
          <a:xfrm>
            <a:off x="9572422" y="1676228"/>
            <a:ext cx="742073" cy="859594"/>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r>
              <a:rPr lang="en-US" sz="1000" dirty="0">
                <a:solidFill>
                  <a:prstClr val="white"/>
                </a:solidFill>
              </a:rPr>
              <a:t>Azure Storage</a:t>
            </a:r>
          </a:p>
        </p:txBody>
      </p:sp>
      <p:sp>
        <p:nvSpPr>
          <p:cNvPr id="58" name="Rectangle 57"/>
          <p:cNvSpPr/>
          <p:nvPr/>
        </p:nvSpPr>
        <p:spPr>
          <a:xfrm>
            <a:off x="5621550" y="4187035"/>
            <a:ext cx="2054611" cy="15036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016">
              <a:defRPr/>
            </a:pPr>
            <a:endParaRPr lang="en-US" i="1" dirty="0">
              <a:solidFill>
                <a:prstClr val="black"/>
              </a:solidFill>
            </a:endParaRPr>
          </a:p>
        </p:txBody>
      </p:sp>
      <p:sp>
        <p:nvSpPr>
          <p:cNvPr id="59" name="Rectangle 58"/>
          <p:cNvSpPr/>
          <p:nvPr/>
        </p:nvSpPr>
        <p:spPr>
          <a:xfrm>
            <a:off x="5722594" y="4356337"/>
            <a:ext cx="1850546" cy="118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r>
              <a:rPr lang="en-US" sz="1400" dirty="0">
                <a:solidFill>
                  <a:prstClr val="white"/>
                </a:solidFill>
              </a:rPr>
              <a:t>Rehydrate:</a:t>
            </a:r>
          </a:p>
          <a:p>
            <a:pPr algn="ctr" defTabSz="914016">
              <a:defRPr/>
            </a:pPr>
            <a:r>
              <a:rPr lang="en-US" sz="1400" dirty="0">
                <a:solidFill>
                  <a:prstClr val="white"/>
                </a:solidFill>
              </a:rPr>
              <a:t>“Forwarded Events”</a:t>
            </a:r>
          </a:p>
          <a:p>
            <a:pPr algn="ctr" defTabSz="914016">
              <a:defRPr/>
            </a:pPr>
            <a:r>
              <a:rPr lang="en-US" sz="1400" dirty="0">
                <a:solidFill>
                  <a:prstClr val="white"/>
                </a:solidFill>
              </a:rPr>
              <a:t>Flat files (IIS Logs)</a:t>
            </a:r>
          </a:p>
          <a:p>
            <a:pPr algn="ctr" defTabSz="914016">
              <a:defRPr/>
            </a:pPr>
            <a:r>
              <a:rPr lang="en-US" sz="1400" dirty="0">
                <a:solidFill>
                  <a:prstClr val="white"/>
                </a:solidFill>
              </a:rPr>
              <a:t>CEF formatted logs</a:t>
            </a:r>
          </a:p>
        </p:txBody>
      </p:sp>
      <p:cxnSp>
        <p:nvCxnSpPr>
          <p:cNvPr id="60" name="Straight Arrow Connector 59"/>
          <p:cNvCxnSpPr/>
          <p:nvPr/>
        </p:nvCxnSpPr>
        <p:spPr>
          <a:xfrm flipH="1">
            <a:off x="6966134" y="2547915"/>
            <a:ext cx="2947760" cy="1035818"/>
          </a:xfrm>
          <a:prstGeom prst="straightConnector1">
            <a:avLst/>
          </a:prstGeom>
          <a:noFill/>
          <a:ln w="9525" cap="flat" cmpd="sng" algn="ctr">
            <a:solidFill>
              <a:srgbClr val="0070C0"/>
            </a:solidFill>
            <a:prstDash val="solid"/>
            <a:miter lim="800000"/>
            <a:headEnd type="none" w="med" len="med"/>
            <a:tailEnd type="triangle" w="med" len="med"/>
          </a:ln>
          <a:effectLst/>
        </p:spPr>
      </p:cxnSp>
      <p:sp>
        <p:nvSpPr>
          <p:cNvPr id="61" name="Rectangle 60"/>
          <p:cNvSpPr/>
          <p:nvPr/>
        </p:nvSpPr>
        <p:spPr>
          <a:xfrm>
            <a:off x="5618120" y="3625018"/>
            <a:ext cx="2071013" cy="5105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r>
              <a:rPr lang="en-US" dirty="0">
                <a:solidFill>
                  <a:prstClr val="white"/>
                </a:solidFill>
              </a:rPr>
              <a:t>Azure Log Integration</a:t>
            </a:r>
          </a:p>
        </p:txBody>
      </p:sp>
      <p:cxnSp>
        <p:nvCxnSpPr>
          <p:cNvPr id="62" name="Straight Arrow Connector 61"/>
          <p:cNvCxnSpPr>
            <a:endCxn id="14" idx="2"/>
          </p:cNvCxnSpPr>
          <p:nvPr/>
        </p:nvCxnSpPr>
        <p:spPr>
          <a:xfrm flipV="1">
            <a:off x="7693359" y="4643909"/>
            <a:ext cx="1277635" cy="3666"/>
          </a:xfrm>
          <a:prstGeom prst="straightConnector1">
            <a:avLst/>
          </a:prstGeom>
          <a:noFill/>
          <a:ln w="9525" cap="flat" cmpd="sng" algn="ctr">
            <a:solidFill>
              <a:srgbClr val="0070C0"/>
            </a:solidFill>
            <a:prstDash val="solid"/>
            <a:miter lim="800000"/>
            <a:headEnd type="none" w="med" len="med"/>
            <a:tailEnd type="triangle" w="med" len="med"/>
          </a:ln>
          <a:effectLst/>
        </p:spPr>
      </p:cxnSp>
      <p:sp>
        <p:nvSpPr>
          <p:cNvPr id="63" name="TextBox 62"/>
          <p:cNvSpPr txBox="1"/>
          <p:nvPr/>
        </p:nvSpPr>
        <p:spPr>
          <a:xfrm>
            <a:off x="7832781" y="4915909"/>
            <a:ext cx="1184280" cy="470898"/>
          </a:xfrm>
          <a:prstGeom prst="rect">
            <a:avLst/>
          </a:prstGeom>
          <a:noFill/>
        </p:spPr>
        <p:txBody>
          <a:bodyPr wrap="square" lIns="0" tIns="0" rIns="0" bIns="0" rtlCol="0">
            <a:spAutoFit/>
          </a:bodyPr>
          <a:lstStyle/>
          <a:p>
            <a:pPr algn="ctr" defTabSz="913698">
              <a:lnSpc>
                <a:spcPct val="90000"/>
              </a:lnSpc>
            </a:pPr>
            <a:r>
              <a:rPr lang="en-US" sz="1200" dirty="0">
                <a:solidFill>
                  <a:prstClr val="black">
                    <a:lumMod val="50000"/>
                    <a:lumOff val="50000"/>
                  </a:prstClr>
                </a:solidFill>
                <a:cs typeface="Segoe UI" panose="020B0502040204020203" pitchFamily="34" charset="0"/>
              </a:rPr>
              <a:t>Standard Log Connector</a:t>
            </a:r>
          </a:p>
          <a:p>
            <a:pPr algn="ctr" defTabSz="913698">
              <a:lnSpc>
                <a:spcPct val="90000"/>
              </a:lnSpc>
            </a:pPr>
            <a:r>
              <a:rPr lang="en-US" sz="1000" dirty="0">
                <a:solidFill>
                  <a:prstClr val="black">
                    <a:lumMod val="50000"/>
                    <a:lumOff val="50000"/>
                  </a:prstClr>
                </a:solidFill>
                <a:cs typeface="Segoe UI" panose="020B0502040204020203" pitchFamily="34" charset="0"/>
              </a:rPr>
              <a:t>(</a:t>
            </a:r>
            <a:r>
              <a:rPr lang="en-US" sz="1000" dirty="0" err="1">
                <a:solidFill>
                  <a:prstClr val="black">
                    <a:lumMod val="50000"/>
                    <a:lumOff val="50000"/>
                  </a:prstClr>
                </a:solidFill>
                <a:cs typeface="Segoe UI" panose="020B0502040204020203" pitchFamily="34" charset="0"/>
              </a:rPr>
              <a:t>ArcSigt</a:t>
            </a:r>
            <a:r>
              <a:rPr lang="en-US" sz="1000" dirty="0">
                <a:solidFill>
                  <a:prstClr val="black">
                    <a:lumMod val="50000"/>
                    <a:lumOff val="50000"/>
                  </a:prstClr>
                </a:solidFill>
                <a:cs typeface="Segoe UI" panose="020B0502040204020203" pitchFamily="34" charset="0"/>
              </a:rPr>
              <a:t>, Splunk, </a:t>
            </a:r>
            <a:r>
              <a:rPr lang="en-US" sz="1000" dirty="0" err="1">
                <a:solidFill>
                  <a:prstClr val="black">
                    <a:lumMod val="50000"/>
                    <a:lumOff val="50000"/>
                  </a:prstClr>
                </a:solidFill>
                <a:cs typeface="Segoe UI" panose="020B0502040204020203" pitchFamily="34" charset="0"/>
              </a:rPr>
              <a:t>etc</a:t>
            </a:r>
            <a:r>
              <a:rPr lang="en-US" sz="1000" dirty="0">
                <a:solidFill>
                  <a:prstClr val="black">
                    <a:lumMod val="50000"/>
                    <a:lumOff val="50000"/>
                  </a:prstClr>
                </a:solidFill>
                <a:cs typeface="Segoe UI" panose="020B0502040204020203" pitchFamily="34" charset="0"/>
              </a:rPr>
              <a:t>)</a:t>
            </a:r>
          </a:p>
        </p:txBody>
      </p:sp>
      <p:sp>
        <p:nvSpPr>
          <p:cNvPr id="65" name="Freeform 207"/>
          <p:cNvSpPr>
            <a:spLocks/>
          </p:cNvSpPr>
          <p:nvPr/>
        </p:nvSpPr>
        <p:spPr bwMode="auto">
          <a:xfrm>
            <a:off x="11115215" y="3682383"/>
            <a:ext cx="692396" cy="448801"/>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41"/>
            <a:endParaRPr lang="en-US" sz="1765" dirty="0">
              <a:solidFill>
                <a:srgbClr val="000000"/>
              </a:solidFill>
            </a:endParaRPr>
          </a:p>
        </p:txBody>
      </p:sp>
      <p:sp>
        <p:nvSpPr>
          <p:cNvPr id="66" name="Freeform 208"/>
          <p:cNvSpPr>
            <a:spLocks/>
          </p:cNvSpPr>
          <p:nvPr/>
        </p:nvSpPr>
        <p:spPr bwMode="auto">
          <a:xfrm>
            <a:off x="9455472" y="3670316"/>
            <a:ext cx="384574" cy="251068"/>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41"/>
            <a:endParaRPr lang="en-US" sz="1765" dirty="0">
              <a:solidFill>
                <a:srgbClr val="000000"/>
              </a:solidFill>
            </a:endParaRPr>
          </a:p>
        </p:txBody>
      </p:sp>
      <p:sp>
        <p:nvSpPr>
          <p:cNvPr id="67" name="TextBox 66"/>
          <p:cNvSpPr txBox="1"/>
          <p:nvPr/>
        </p:nvSpPr>
        <p:spPr>
          <a:xfrm>
            <a:off x="6068551" y="2819190"/>
            <a:ext cx="1033299" cy="166199"/>
          </a:xfrm>
          <a:prstGeom prst="rect">
            <a:avLst/>
          </a:prstGeom>
          <a:solidFill>
            <a:schemeClr val="bg1"/>
          </a:solidFill>
        </p:spPr>
        <p:txBody>
          <a:bodyPr wrap="square" lIns="0" tIns="0" rIns="0" bIns="0" rtlCol="0">
            <a:spAutoFit/>
          </a:bodyPr>
          <a:lstStyle/>
          <a:p>
            <a:pPr algn="ctr" defTabSz="913698">
              <a:lnSpc>
                <a:spcPct val="90000"/>
              </a:lnSpc>
            </a:pPr>
            <a:r>
              <a:rPr lang="en-US" sz="1200" dirty="0">
                <a:solidFill>
                  <a:prstClr val="black">
                    <a:lumMod val="50000"/>
                    <a:lumOff val="50000"/>
                  </a:prstClr>
                </a:solidFill>
                <a:cs typeface="Segoe UI" panose="020B0502040204020203" pitchFamily="34" charset="0"/>
              </a:rPr>
              <a:t>Azure APIs</a:t>
            </a:r>
          </a:p>
        </p:txBody>
      </p:sp>
      <p:sp>
        <p:nvSpPr>
          <p:cNvPr id="68" name="Oval 67"/>
          <p:cNvSpPr/>
          <p:nvPr/>
        </p:nvSpPr>
        <p:spPr bwMode="auto">
          <a:xfrm>
            <a:off x="8245138" y="4406109"/>
            <a:ext cx="351916" cy="3519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9" name="Group 4"/>
          <p:cNvGrpSpPr>
            <a:grpSpLocks noChangeAspect="1"/>
          </p:cNvGrpSpPr>
          <p:nvPr/>
        </p:nvGrpSpPr>
        <p:grpSpPr bwMode="auto">
          <a:xfrm>
            <a:off x="8049184" y="4308099"/>
            <a:ext cx="633143" cy="571256"/>
            <a:chOff x="5231" y="2500"/>
            <a:chExt cx="399" cy="360"/>
          </a:xfrm>
        </p:grpSpPr>
        <p:sp>
          <p:nvSpPr>
            <p:cNvPr id="70" name="AutoShape 3"/>
            <p:cNvSpPr>
              <a:spLocks noChangeAspect="1" noChangeArrowheads="1" noTextEdit="1"/>
            </p:cNvSpPr>
            <p:nvPr/>
          </p:nvSpPr>
          <p:spPr bwMode="auto">
            <a:xfrm>
              <a:off x="5231" y="2500"/>
              <a:ext cx="399"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4016"/>
              <a:endParaRPr lang="en-US">
                <a:solidFill>
                  <a:srgbClr val="505050"/>
                </a:solidFill>
              </a:endParaRPr>
            </a:p>
          </p:txBody>
        </p:sp>
        <p:sp>
          <p:nvSpPr>
            <p:cNvPr id="71" name="Freeform 5"/>
            <p:cNvSpPr>
              <a:spLocks/>
            </p:cNvSpPr>
            <p:nvPr/>
          </p:nvSpPr>
          <p:spPr bwMode="auto">
            <a:xfrm>
              <a:off x="5330" y="2528"/>
              <a:ext cx="296" cy="294"/>
            </a:xfrm>
            <a:custGeom>
              <a:avLst/>
              <a:gdLst>
                <a:gd name="T0" fmla="*/ 471 w 522"/>
                <a:gd name="T1" fmla="*/ 261 h 522"/>
                <a:gd name="T2" fmla="*/ 471 w 522"/>
                <a:gd name="T3" fmla="*/ 246 h 522"/>
                <a:gd name="T4" fmla="*/ 522 w 522"/>
                <a:gd name="T5" fmla="*/ 218 h 522"/>
                <a:gd name="T6" fmla="*/ 509 w 522"/>
                <a:gd name="T7" fmla="*/ 168 h 522"/>
                <a:gd name="T8" fmla="*/ 450 w 522"/>
                <a:gd name="T9" fmla="*/ 169 h 522"/>
                <a:gd name="T10" fmla="*/ 435 w 522"/>
                <a:gd name="T11" fmla="*/ 143 h 522"/>
                <a:gd name="T12" fmla="*/ 465 w 522"/>
                <a:gd name="T13" fmla="*/ 92 h 522"/>
                <a:gd name="T14" fmla="*/ 430 w 522"/>
                <a:gd name="T15" fmla="*/ 57 h 522"/>
                <a:gd name="T16" fmla="*/ 400 w 522"/>
                <a:gd name="T17" fmla="*/ 74 h 522"/>
                <a:gd name="T18" fmla="*/ 387 w 522"/>
                <a:gd name="T19" fmla="*/ 93 h 522"/>
                <a:gd name="T20" fmla="*/ 360 w 522"/>
                <a:gd name="T21" fmla="*/ 133 h 522"/>
                <a:gd name="T22" fmla="*/ 423 w 522"/>
                <a:gd name="T23" fmla="*/ 261 h 522"/>
                <a:gd name="T24" fmla="*/ 261 w 522"/>
                <a:gd name="T25" fmla="*/ 423 h 522"/>
                <a:gd name="T26" fmla="*/ 99 w 522"/>
                <a:gd name="T27" fmla="*/ 261 h 522"/>
                <a:gd name="T28" fmla="*/ 233 w 522"/>
                <a:gd name="T29" fmla="*/ 101 h 522"/>
                <a:gd name="T30" fmla="*/ 246 w 522"/>
                <a:gd name="T31" fmla="*/ 51 h 522"/>
                <a:gd name="T32" fmla="*/ 217 w 522"/>
                <a:gd name="T33" fmla="*/ 0 h 522"/>
                <a:gd name="T34" fmla="*/ 168 w 522"/>
                <a:gd name="T35" fmla="*/ 13 h 522"/>
                <a:gd name="T36" fmla="*/ 169 w 522"/>
                <a:gd name="T37" fmla="*/ 72 h 522"/>
                <a:gd name="T38" fmla="*/ 143 w 522"/>
                <a:gd name="T39" fmla="*/ 87 h 522"/>
                <a:gd name="T40" fmla="*/ 93 w 522"/>
                <a:gd name="T41" fmla="*/ 57 h 522"/>
                <a:gd name="T42" fmla="*/ 57 w 522"/>
                <a:gd name="T43" fmla="*/ 93 h 522"/>
                <a:gd name="T44" fmla="*/ 87 w 522"/>
                <a:gd name="T45" fmla="*/ 143 h 522"/>
                <a:gd name="T46" fmla="*/ 72 w 522"/>
                <a:gd name="T47" fmla="*/ 169 h 522"/>
                <a:gd name="T48" fmla="*/ 13 w 522"/>
                <a:gd name="T49" fmla="*/ 168 h 522"/>
                <a:gd name="T50" fmla="*/ 0 w 522"/>
                <a:gd name="T51" fmla="*/ 218 h 522"/>
                <a:gd name="T52" fmla="*/ 51 w 522"/>
                <a:gd name="T53" fmla="*/ 246 h 522"/>
                <a:gd name="T54" fmla="*/ 51 w 522"/>
                <a:gd name="T55" fmla="*/ 261 h 522"/>
                <a:gd name="T56" fmla="*/ 51 w 522"/>
                <a:gd name="T57" fmla="*/ 276 h 522"/>
                <a:gd name="T58" fmla="*/ 0 w 522"/>
                <a:gd name="T59" fmla="*/ 305 h 522"/>
                <a:gd name="T60" fmla="*/ 13 w 522"/>
                <a:gd name="T61" fmla="*/ 354 h 522"/>
                <a:gd name="T62" fmla="*/ 72 w 522"/>
                <a:gd name="T63" fmla="*/ 353 h 522"/>
                <a:gd name="T64" fmla="*/ 87 w 522"/>
                <a:gd name="T65" fmla="*/ 379 h 522"/>
                <a:gd name="T66" fmla="*/ 57 w 522"/>
                <a:gd name="T67" fmla="*/ 430 h 522"/>
                <a:gd name="T68" fmla="*/ 93 w 522"/>
                <a:gd name="T69" fmla="*/ 466 h 522"/>
                <a:gd name="T70" fmla="*/ 143 w 522"/>
                <a:gd name="T71" fmla="*/ 436 h 522"/>
                <a:gd name="T72" fmla="*/ 169 w 522"/>
                <a:gd name="T73" fmla="*/ 451 h 522"/>
                <a:gd name="T74" fmla="*/ 168 w 522"/>
                <a:gd name="T75" fmla="*/ 509 h 522"/>
                <a:gd name="T76" fmla="*/ 217 w 522"/>
                <a:gd name="T77" fmla="*/ 522 h 522"/>
                <a:gd name="T78" fmla="*/ 246 w 522"/>
                <a:gd name="T79" fmla="*/ 471 h 522"/>
                <a:gd name="T80" fmla="*/ 261 w 522"/>
                <a:gd name="T81" fmla="*/ 472 h 522"/>
                <a:gd name="T82" fmla="*/ 276 w 522"/>
                <a:gd name="T83" fmla="*/ 471 h 522"/>
                <a:gd name="T84" fmla="*/ 304 w 522"/>
                <a:gd name="T85" fmla="*/ 522 h 522"/>
                <a:gd name="T86" fmla="*/ 354 w 522"/>
                <a:gd name="T87" fmla="*/ 509 h 522"/>
                <a:gd name="T88" fmla="*/ 353 w 522"/>
                <a:gd name="T89" fmla="*/ 451 h 522"/>
                <a:gd name="T90" fmla="*/ 379 w 522"/>
                <a:gd name="T91" fmla="*/ 436 h 522"/>
                <a:gd name="T92" fmla="*/ 430 w 522"/>
                <a:gd name="T93" fmla="*/ 466 h 522"/>
                <a:gd name="T94" fmla="*/ 465 w 522"/>
                <a:gd name="T95" fmla="*/ 430 h 522"/>
                <a:gd name="T96" fmla="*/ 435 w 522"/>
                <a:gd name="T97" fmla="*/ 379 h 522"/>
                <a:gd name="T98" fmla="*/ 450 w 522"/>
                <a:gd name="T99" fmla="*/ 353 h 522"/>
                <a:gd name="T100" fmla="*/ 509 w 522"/>
                <a:gd name="T101" fmla="*/ 354 h 522"/>
                <a:gd name="T102" fmla="*/ 522 w 522"/>
                <a:gd name="T103" fmla="*/ 305 h 522"/>
                <a:gd name="T104" fmla="*/ 471 w 522"/>
                <a:gd name="T105" fmla="*/ 276 h 522"/>
                <a:gd name="T106" fmla="*/ 471 w 522"/>
                <a:gd name="T107" fmla="*/ 26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2" h="522">
                  <a:moveTo>
                    <a:pt x="471" y="261"/>
                  </a:moveTo>
                  <a:cubicBezTo>
                    <a:pt x="471" y="256"/>
                    <a:pt x="471" y="251"/>
                    <a:pt x="471" y="246"/>
                  </a:cubicBezTo>
                  <a:lnTo>
                    <a:pt x="522" y="218"/>
                  </a:lnTo>
                  <a:cubicBezTo>
                    <a:pt x="519" y="201"/>
                    <a:pt x="515" y="184"/>
                    <a:pt x="509" y="168"/>
                  </a:cubicBezTo>
                  <a:lnTo>
                    <a:pt x="450" y="169"/>
                  </a:lnTo>
                  <a:cubicBezTo>
                    <a:pt x="446" y="160"/>
                    <a:pt x="441" y="151"/>
                    <a:pt x="435" y="143"/>
                  </a:cubicBezTo>
                  <a:lnTo>
                    <a:pt x="465" y="92"/>
                  </a:lnTo>
                  <a:cubicBezTo>
                    <a:pt x="455" y="79"/>
                    <a:pt x="443" y="67"/>
                    <a:pt x="430" y="57"/>
                  </a:cubicBezTo>
                  <a:lnTo>
                    <a:pt x="400" y="74"/>
                  </a:lnTo>
                  <a:lnTo>
                    <a:pt x="387" y="93"/>
                  </a:lnTo>
                  <a:lnTo>
                    <a:pt x="360" y="133"/>
                  </a:lnTo>
                  <a:cubicBezTo>
                    <a:pt x="398" y="162"/>
                    <a:pt x="423" y="209"/>
                    <a:pt x="423" y="261"/>
                  </a:cubicBezTo>
                  <a:cubicBezTo>
                    <a:pt x="423" y="351"/>
                    <a:pt x="351" y="423"/>
                    <a:pt x="261" y="423"/>
                  </a:cubicBezTo>
                  <a:cubicBezTo>
                    <a:pt x="171" y="423"/>
                    <a:pt x="99" y="351"/>
                    <a:pt x="99" y="261"/>
                  </a:cubicBezTo>
                  <a:cubicBezTo>
                    <a:pt x="99" y="181"/>
                    <a:pt x="157" y="114"/>
                    <a:pt x="233" y="101"/>
                  </a:cubicBezTo>
                  <a:lnTo>
                    <a:pt x="246" y="51"/>
                  </a:lnTo>
                  <a:lnTo>
                    <a:pt x="217" y="0"/>
                  </a:lnTo>
                  <a:cubicBezTo>
                    <a:pt x="200" y="2"/>
                    <a:pt x="184" y="7"/>
                    <a:pt x="168" y="13"/>
                  </a:cubicBezTo>
                  <a:lnTo>
                    <a:pt x="169" y="72"/>
                  </a:lnTo>
                  <a:cubicBezTo>
                    <a:pt x="160" y="76"/>
                    <a:pt x="151" y="81"/>
                    <a:pt x="143" y="87"/>
                  </a:cubicBezTo>
                  <a:lnTo>
                    <a:pt x="93" y="57"/>
                  </a:lnTo>
                  <a:cubicBezTo>
                    <a:pt x="80" y="67"/>
                    <a:pt x="68" y="79"/>
                    <a:pt x="57" y="93"/>
                  </a:cubicBezTo>
                  <a:lnTo>
                    <a:pt x="87" y="143"/>
                  </a:lnTo>
                  <a:cubicBezTo>
                    <a:pt x="81" y="151"/>
                    <a:pt x="76" y="160"/>
                    <a:pt x="72" y="169"/>
                  </a:cubicBezTo>
                  <a:lnTo>
                    <a:pt x="13" y="168"/>
                  </a:lnTo>
                  <a:cubicBezTo>
                    <a:pt x="7" y="184"/>
                    <a:pt x="3" y="201"/>
                    <a:pt x="0" y="218"/>
                  </a:cubicBezTo>
                  <a:lnTo>
                    <a:pt x="51" y="246"/>
                  </a:lnTo>
                  <a:cubicBezTo>
                    <a:pt x="51" y="251"/>
                    <a:pt x="51" y="256"/>
                    <a:pt x="51" y="261"/>
                  </a:cubicBezTo>
                  <a:cubicBezTo>
                    <a:pt x="51" y="266"/>
                    <a:pt x="51" y="271"/>
                    <a:pt x="51" y="276"/>
                  </a:cubicBezTo>
                  <a:lnTo>
                    <a:pt x="0" y="305"/>
                  </a:lnTo>
                  <a:cubicBezTo>
                    <a:pt x="3" y="322"/>
                    <a:pt x="7" y="338"/>
                    <a:pt x="13" y="354"/>
                  </a:cubicBezTo>
                  <a:lnTo>
                    <a:pt x="72" y="353"/>
                  </a:lnTo>
                  <a:cubicBezTo>
                    <a:pt x="76" y="362"/>
                    <a:pt x="81" y="371"/>
                    <a:pt x="87" y="379"/>
                  </a:cubicBezTo>
                  <a:lnTo>
                    <a:pt x="57" y="430"/>
                  </a:lnTo>
                  <a:cubicBezTo>
                    <a:pt x="68" y="443"/>
                    <a:pt x="79" y="455"/>
                    <a:pt x="93" y="466"/>
                  </a:cubicBezTo>
                  <a:lnTo>
                    <a:pt x="143" y="436"/>
                  </a:lnTo>
                  <a:cubicBezTo>
                    <a:pt x="151" y="441"/>
                    <a:pt x="160" y="446"/>
                    <a:pt x="169" y="451"/>
                  </a:cubicBezTo>
                  <a:lnTo>
                    <a:pt x="168" y="509"/>
                  </a:lnTo>
                  <a:cubicBezTo>
                    <a:pt x="184" y="515"/>
                    <a:pt x="200" y="520"/>
                    <a:pt x="217" y="522"/>
                  </a:cubicBezTo>
                  <a:lnTo>
                    <a:pt x="246" y="471"/>
                  </a:lnTo>
                  <a:cubicBezTo>
                    <a:pt x="251" y="472"/>
                    <a:pt x="256" y="472"/>
                    <a:pt x="261" y="472"/>
                  </a:cubicBezTo>
                  <a:cubicBezTo>
                    <a:pt x="266" y="472"/>
                    <a:pt x="271" y="471"/>
                    <a:pt x="276" y="471"/>
                  </a:cubicBezTo>
                  <a:lnTo>
                    <a:pt x="304" y="522"/>
                  </a:lnTo>
                  <a:cubicBezTo>
                    <a:pt x="321" y="520"/>
                    <a:pt x="338" y="515"/>
                    <a:pt x="354" y="509"/>
                  </a:cubicBezTo>
                  <a:lnTo>
                    <a:pt x="353" y="451"/>
                  </a:lnTo>
                  <a:cubicBezTo>
                    <a:pt x="362" y="446"/>
                    <a:pt x="371" y="441"/>
                    <a:pt x="379" y="436"/>
                  </a:cubicBezTo>
                  <a:lnTo>
                    <a:pt x="430" y="466"/>
                  </a:lnTo>
                  <a:cubicBezTo>
                    <a:pt x="442" y="455"/>
                    <a:pt x="455" y="443"/>
                    <a:pt x="465" y="430"/>
                  </a:cubicBezTo>
                  <a:lnTo>
                    <a:pt x="435" y="379"/>
                  </a:lnTo>
                  <a:cubicBezTo>
                    <a:pt x="441" y="371"/>
                    <a:pt x="446" y="362"/>
                    <a:pt x="450" y="353"/>
                  </a:cubicBezTo>
                  <a:lnTo>
                    <a:pt x="509" y="354"/>
                  </a:lnTo>
                  <a:cubicBezTo>
                    <a:pt x="515" y="338"/>
                    <a:pt x="519" y="322"/>
                    <a:pt x="522" y="305"/>
                  </a:cubicBezTo>
                  <a:lnTo>
                    <a:pt x="471" y="276"/>
                  </a:lnTo>
                  <a:cubicBezTo>
                    <a:pt x="471" y="271"/>
                    <a:pt x="471" y="266"/>
                    <a:pt x="471" y="261"/>
                  </a:cubicBezTo>
                  <a:close/>
                </a:path>
              </a:pathLst>
            </a:custGeom>
            <a:solidFill>
              <a:srgbClr val="0072C6"/>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4016"/>
              <a:endParaRPr lang="en-US">
                <a:solidFill>
                  <a:srgbClr val="505050"/>
                </a:solidFill>
              </a:endParaRPr>
            </a:p>
          </p:txBody>
        </p:sp>
        <p:sp>
          <p:nvSpPr>
            <p:cNvPr id="72" name="Freeform 6"/>
            <p:cNvSpPr>
              <a:spLocks noEditPoints="1"/>
            </p:cNvSpPr>
            <p:nvPr/>
          </p:nvSpPr>
          <p:spPr bwMode="auto">
            <a:xfrm>
              <a:off x="5240" y="2731"/>
              <a:ext cx="127" cy="125"/>
            </a:xfrm>
            <a:custGeom>
              <a:avLst/>
              <a:gdLst>
                <a:gd name="T0" fmla="*/ 112 w 223"/>
                <a:gd name="T1" fmla="*/ 147 h 223"/>
                <a:gd name="T2" fmla="*/ 76 w 223"/>
                <a:gd name="T3" fmla="*/ 112 h 223"/>
                <a:gd name="T4" fmla="*/ 112 w 223"/>
                <a:gd name="T5" fmla="*/ 76 h 223"/>
                <a:gd name="T6" fmla="*/ 147 w 223"/>
                <a:gd name="T7" fmla="*/ 112 h 223"/>
                <a:gd name="T8" fmla="*/ 112 w 223"/>
                <a:gd name="T9" fmla="*/ 147 h 223"/>
                <a:gd name="T10" fmla="*/ 181 w 223"/>
                <a:gd name="T11" fmla="*/ 24 h 223"/>
                <a:gd name="T12" fmla="*/ 178 w 223"/>
                <a:gd name="T13" fmla="*/ 25 h 223"/>
                <a:gd name="T14" fmla="*/ 152 w 223"/>
                <a:gd name="T15" fmla="*/ 38 h 223"/>
                <a:gd name="T16" fmla="*/ 135 w 223"/>
                <a:gd name="T17" fmla="*/ 31 h 223"/>
                <a:gd name="T18" fmla="*/ 124 w 223"/>
                <a:gd name="T19" fmla="*/ 0 h 223"/>
                <a:gd name="T20" fmla="*/ 99 w 223"/>
                <a:gd name="T21" fmla="*/ 0 h 223"/>
                <a:gd name="T22" fmla="*/ 98 w 223"/>
                <a:gd name="T23" fmla="*/ 4 h 223"/>
                <a:gd name="T24" fmla="*/ 89 w 223"/>
                <a:gd name="T25" fmla="*/ 31 h 223"/>
                <a:gd name="T26" fmla="*/ 71 w 223"/>
                <a:gd name="T27" fmla="*/ 38 h 223"/>
                <a:gd name="T28" fmla="*/ 42 w 223"/>
                <a:gd name="T29" fmla="*/ 25 h 223"/>
                <a:gd name="T30" fmla="*/ 24 w 223"/>
                <a:gd name="T31" fmla="*/ 42 h 223"/>
                <a:gd name="T32" fmla="*/ 25 w 223"/>
                <a:gd name="T33" fmla="*/ 46 h 223"/>
                <a:gd name="T34" fmla="*/ 38 w 223"/>
                <a:gd name="T35" fmla="*/ 71 h 223"/>
                <a:gd name="T36" fmla="*/ 31 w 223"/>
                <a:gd name="T37" fmla="*/ 89 h 223"/>
                <a:gd name="T38" fmla="*/ 0 w 223"/>
                <a:gd name="T39" fmla="*/ 100 h 223"/>
                <a:gd name="T40" fmla="*/ 0 w 223"/>
                <a:gd name="T41" fmla="*/ 125 h 223"/>
                <a:gd name="T42" fmla="*/ 4 w 223"/>
                <a:gd name="T43" fmla="*/ 126 h 223"/>
                <a:gd name="T44" fmla="*/ 31 w 223"/>
                <a:gd name="T45" fmla="*/ 135 h 223"/>
                <a:gd name="T46" fmla="*/ 38 w 223"/>
                <a:gd name="T47" fmla="*/ 152 h 223"/>
                <a:gd name="T48" fmla="*/ 24 w 223"/>
                <a:gd name="T49" fmla="*/ 182 h 223"/>
                <a:gd name="T50" fmla="*/ 43 w 223"/>
                <a:gd name="T51" fmla="*/ 200 h 223"/>
                <a:gd name="T52" fmla="*/ 46 w 223"/>
                <a:gd name="T53" fmla="*/ 198 h 223"/>
                <a:gd name="T54" fmla="*/ 71 w 223"/>
                <a:gd name="T55" fmla="*/ 185 h 223"/>
                <a:gd name="T56" fmla="*/ 89 w 223"/>
                <a:gd name="T57" fmla="*/ 192 h 223"/>
                <a:gd name="T58" fmla="*/ 100 w 223"/>
                <a:gd name="T59" fmla="*/ 223 h 223"/>
                <a:gd name="T60" fmla="*/ 125 w 223"/>
                <a:gd name="T61" fmla="*/ 223 h 223"/>
                <a:gd name="T62" fmla="*/ 126 w 223"/>
                <a:gd name="T63" fmla="*/ 219 h 223"/>
                <a:gd name="T64" fmla="*/ 135 w 223"/>
                <a:gd name="T65" fmla="*/ 192 h 223"/>
                <a:gd name="T66" fmla="*/ 152 w 223"/>
                <a:gd name="T67" fmla="*/ 185 h 223"/>
                <a:gd name="T68" fmla="*/ 182 w 223"/>
                <a:gd name="T69" fmla="*/ 199 h 223"/>
                <a:gd name="T70" fmla="*/ 200 w 223"/>
                <a:gd name="T71" fmla="*/ 181 h 223"/>
                <a:gd name="T72" fmla="*/ 198 w 223"/>
                <a:gd name="T73" fmla="*/ 178 h 223"/>
                <a:gd name="T74" fmla="*/ 185 w 223"/>
                <a:gd name="T75" fmla="*/ 152 h 223"/>
                <a:gd name="T76" fmla="*/ 192 w 223"/>
                <a:gd name="T77" fmla="*/ 135 h 223"/>
                <a:gd name="T78" fmla="*/ 223 w 223"/>
                <a:gd name="T79" fmla="*/ 124 h 223"/>
                <a:gd name="T80" fmla="*/ 223 w 223"/>
                <a:gd name="T81" fmla="*/ 98 h 223"/>
                <a:gd name="T82" fmla="*/ 219 w 223"/>
                <a:gd name="T83" fmla="*/ 97 h 223"/>
                <a:gd name="T84" fmla="*/ 192 w 223"/>
                <a:gd name="T85" fmla="*/ 89 h 223"/>
                <a:gd name="T86" fmla="*/ 185 w 223"/>
                <a:gd name="T87" fmla="*/ 71 h 223"/>
                <a:gd name="T88" fmla="*/ 198 w 223"/>
                <a:gd name="T89" fmla="*/ 44 h 223"/>
                <a:gd name="T90" fmla="*/ 191 w 223"/>
                <a:gd name="T91" fmla="*/ 33 h 223"/>
                <a:gd name="T92" fmla="*/ 181 w 223"/>
                <a:gd name="T93" fmla="*/ 2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 h="223">
                  <a:moveTo>
                    <a:pt x="112" y="147"/>
                  </a:moveTo>
                  <a:cubicBezTo>
                    <a:pt x="92" y="147"/>
                    <a:pt x="76" y="131"/>
                    <a:pt x="76" y="112"/>
                  </a:cubicBezTo>
                  <a:cubicBezTo>
                    <a:pt x="76" y="92"/>
                    <a:pt x="92" y="76"/>
                    <a:pt x="112" y="76"/>
                  </a:cubicBezTo>
                  <a:cubicBezTo>
                    <a:pt x="131" y="76"/>
                    <a:pt x="147" y="92"/>
                    <a:pt x="147" y="112"/>
                  </a:cubicBezTo>
                  <a:cubicBezTo>
                    <a:pt x="147" y="131"/>
                    <a:pt x="131" y="147"/>
                    <a:pt x="112" y="147"/>
                  </a:cubicBezTo>
                  <a:close/>
                  <a:moveTo>
                    <a:pt x="181" y="24"/>
                  </a:moveTo>
                  <a:lnTo>
                    <a:pt x="178" y="25"/>
                  </a:lnTo>
                  <a:lnTo>
                    <a:pt x="152" y="38"/>
                  </a:lnTo>
                  <a:lnTo>
                    <a:pt x="135" y="31"/>
                  </a:lnTo>
                  <a:lnTo>
                    <a:pt x="124" y="0"/>
                  </a:lnTo>
                  <a:lnTo>
                    <a:pt x="99" y="0"/>
                  </a:lnTo>
                  <a:lnTo>
                    <a:pt x="98" y="4"/>
                  </a:lnTo>
                  <a:lnTo>
                    <a:pt x="89" y="31"/>
                  </a:lnTo>
                  <a:lnTo>
                    <a:pt x="71" y="38"/>
                  </a:lnTo>
                  <a:lnTo>
                    <a:pt x="42" y="25"/>
                  </a:lnTo>
                  <a:lnTo>
                    <a:pt x="24" y="42"/>
                  </a:lnTo>
                  <a:lnTo>
                    <a:pt x="25" y="46"/>
                  </a:lnTo>
                  <a:lnTo>
                    <a:pt x="38" y="71"/>
                  </a:lnTo>
                  <a:lnTo>
                    <a:pt x="31" y="89"/>
                  </a:lnTo>
                  <a:lnTo>
                    <a:pt x="0" y="100"/>
                  </a:lnTo>
                  <a:lnTo>
                    <a:pt x="0" y="125"/>
                  </a:lnTo>
                  <a:lnTo>
                    <a:pt x="4" y="126"/>
                  </a:lnTo>
                  <a:lnTo>
                    <a:pt x="31" y="135"/>
                  </a:lnTo>
                  <a:lnTo>
                    <a:pt x="38" y="152"/>
                  </a:lnTo>
                  <a:lnTo>
                    <a:pt x="24" y="182"/>
                  </a:lnTo>
                  <a:lnTo>
                    <a:pt x="43" y="200"/>
                  </a:lnTo>
                  <a:lnTo>
                    <a:pt x="46" y="198"/>
                  </a:lnTo>
                  <a:lnTo>
                    <a:pt x="71" y="185"/>
                  </a:lnTo>
                  <a:lnTo>
                    <a:pt x="89" y="192"/>
                  </a:lnTo>
                  <a:lnTo>
                    <a:pt x="100" y="223"/>
                  </a:lnTo>
                  <a:lnTo>
                    <a:pt x="125" y="223"/>
                  </a:lnTo>
                  <a:lnTo>
                    <a:pt x="126" y="219"/>
                  </a:lnTo>
                  <a:lnTo>
                    <a:pt x="135" y="192"/>
                  </a:lnTo>
                  <a:lnTo>
                    <a:pt x="152" y="185"/>
                  </a:lnTo>
                  <a:lnTo>
                    <a:pt x="182" y="199"/>
                  </a:lnTo>
                  <a:lnTo>
                    <a:pt x="200" y="181"/>
                  </a:lnTo>
                  <a:lnTo>
                    <a:pt x="198" y="178"/>
                  </a:lnTo>
                  <a:lnTo>
                    <a:pt x="185" y="152"/>
                  </a:lnTo>
                  <a:lnTo>
                    <a:pt x="192" y="135"/>
                  </a:lnTo>
                  <a:lnTo>
                    <a:pt x="223" y="124"/>
                  </a:lnTo>
                  <a:lnTo>
                    <a:pt x="223" y="98"/>
                  </a:lnTo>
                  <a:lnTo>
                    <a:pt x="219" y="97"/>
                  </a:lnTo>
                  <a:lnTo>
                    <a:pt x="192" y="89"/>
                  </a:lnTo>
                  <a:lnTo>
                    <a:pt x="185" y="71"/>
                  </a:lnTo>
                  <a:lnTo>
                    <a:pt x="198" y="44"/>
                  </a:lnTo>
                  <a:cubicBezTo>
                    <a:pt x="195" y="41"/>
                    <a:pt x="193" y="37"/>
                    <a:pt x="191" y="33"/>
                  </a:cubicBezTo>
                  <a:lnTo>
                    <a:pt x="181" y="24"/>
                  </a:lnTo>
                  <a:close/>
                </a:path>
              </a:pathLst>
            </a:custGeom>
            <a:solidFill>
              <a:srgbClr val="0072C6"/>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4016"/>
              <a:endParaRPr lang="en-US">
                <a:solidFill>
                  <a:srgbClr val="505050"/>
                </a:solidFill>
              </a:endParaRPr>
            </a:p>
          </p:txBody>
        </p:sp>
        <p:sp>
          <p:nvSpPr>
            <p:cNvPr id="73" name="Freeform 7"/>
            <p:cNvSpPr>
              <a:spLocks/>
            </p:cNvSpPr>
            <p:nvPr/>
          </p:nvSpPr>
          <p:spPr bwMode="auto">
            <a:xfrm>
              <a:off x="5348" y="2750"/>
              <a:ext cx="5" cy="6"/>
            </a:xfrm>
            <a:custGeom>
              <a:avLst/>
              <a:gdLst>
                <a:gd name="T0" fmla="*/ 0 w 8"/>
                <a:gd name="T1" fmla="*/ 0 h 11"/>
                <a:gd name="T2" fmla="*/ 7 w 8"/>
                <a:gd name="T3" fmla="*/ 11 h 11"/>
                <a:gd name="T4" fmla="*/ 8 w 8"/>
                <a:gd name="T5" fmla="*/ 8 h 11"/>
                <a:gd name="T6" fmla="*/ 0 w 8"/>
                <a:gd name="T7" fmla="*/ 0 h 11"/>
              </a:gdLst>
              <a:ahLst/>
              <a:cxnLst>
                <a:cxn ang="0">
                  <a:pos x="T0" y="T1"/>
                </a:cxn>
                <a:cxn ang="0">
                  <a:pos x="T2" y="T3"/>
                </a:cxn>
                <a:cxn ang="0">
                  <a:pos x="T4" y="T5"/>
                </a:cxn>
                <a:cxn ang="0">
                  <a:pos x="T6" y="T7"/>
                </a:cxn>
              </a:cxnLst>
              <a:rect l="0" t="0" r="r" b="b"/>
              <a:pathLst>
                <a:path w="8" h="11">
                  <a:moveTo>
                    <a:pt x="0" y="0"/>
                  </a:moveTo>
                  <a:cubicBezTo>
                    <a:pt x="2" y="3"/>
                    <a:pt x="4" y="7"/>
                    <a:pt x="7" y="11"/>
                  </a:cubicBezTo>
                  <a:lnTo>
                    <a:pt x="8" y="8"/>
                  </a:lnTo>
                  <a:lnTo>
                    <a:pt x="0" y="0"/>
                  </a:lnTo>
                  <a:close/>
                </a:path>
              </a:pathLst>
            </a:custGeom>
            <a:solidFill>
              <a:srgbClr val="7F7F7F"/>
            </a:solidFill>
            <a:ln w="0">
              <a:solidFill>
                <a:srgbClr val="000000"/>
              </a:solidFill>
              <a:prstDash val="solid"/>
              <a:round/>
              <a:headEnd/>
              <a:tailEnd/>
            </a:ln>
          </p:spPr>
          <p:txBody>
            <a:bodyPr vert="horz" wrap="square" lIns="91401" tIns="45700" rIns="91401" bIns="45700" numCol="1" anchor="t" anchorCtr="0" compatLnSpc="1">
              <a:prstTxWarp prst="textNoShape">
                <a:avLst/>
              </a:prstTxWarp>
            </a:bodyPr>
            <a:lstStyle/>
            <a:p>
              <a:pPr defTabSz="914016"/>
              <a:endParaRPr lang="en-US">
                <a:solidFill>
                  <a:srgbClr val="505050"/>
                </a:solidFill>
              </a:endParaRPr>
            </a:p>
          </p:txBody>
        </p:sp>
        <p:sp>
          <p:nvSpPr>
            <p:cNvPr id="74" name="Freeform 8"/>
            <p:cNvSpPr>
              <a:spLocks/>
            </p:cNvSpPr>
            <p:nvPr/>
          </p:nvSpPr>
          <p:spPr bwMode="auto">
            <a:xfrm>
              <a:off x="5445" y="2509"/>
              <a:ext cx="117" cy="234"/>
            </a:xfrm>
            <a:custGeom>
              <a:avLst/>
              <a:gdLst>
                <a:gd name="T0" fmla="*/ 92 w 206"/>
                <a:gd name="T1" fmla="*/ 0 h 416"/>
                <a:gd name="T2" fmla="*/ 82 w 206"/>
                <a:gd name="T3" fmla="*/ 31 h 416"/>
                <a:gd name="T4" fmla="*/ 65 w 206"/>
                <a:gd name="T5" fmla="*/ 85 h 416"/>
                <a:gd name="T6" fmla="*/ 57 w 206"/>
                <a:gd name="T7" fmla="*/ 111 h 416"/>
                <a:gd name="T8" fmla="*/ 50 w 206"/>
                <a:gd name="T9" fmla="*/ 133 h 416"/>
                <a:gd name="T10" fmla="*/ 1 w 206"/>
                <a:gd name="T11" fmla="*/ 288 h 416"/>
                <a:gd name="T12" fmla="*/ 5 w 206"/>
                <a:gd name="T13" fmla="*/ 294 h 416"/>
                <a:gd name="T14" fmla="*/ 50 w 206"/>
                <a:gd name="T15" fmla="*/ 294 h 416"/>
                <a:gd name="T16" fmla="*/ 53 w 206"/>
                <a:gd name="T17" fmla="*/ 295 h 416"/>
                <a:gd name="T18" fmla="*/ 54 w 206"/>
                <a:gd name="T19" fmla="*/ 299 h 416"/>
                <a:gd name="T20" fmla="*/ 8 w 206"/>
                <a:gd name="T21" fmla="*/ 412 h 416"/>
                <a:gd name="T22" fmla="*/ 9 w 206"/>
                <a:gd name="T23" fmla="*/ 413 h 416"/>
                <a:gd name="T24" fmla="*/ 157 w 206"/>
                <a:gd name="T25" fmla="*/ 246 h 416"/>
                <a:gd name="T26" fmla="*/ 155 w 206"/>
                <a:gd name="T27" fmla="*/ 242 h 416"/>
                <a:gd name="T28" fmla="*/ 106 w 206"/>
                <a:gd name="T29" fmla="*/ 242 h 416"/>
                <a:gd name="T30" fmla="*/ 97 w 206"/>
                <a:gd name="T31" fmla="*/ 242 h 416"/>
                <a:gd name="T32" fmla="*/ 94 w 206"/>
                <a:gd name="T33" fmla="*/ 237 h 416"/>
                <a:gd name="T34" fmla="*/ 140 w 206"/>
                <a:gd name="T35" fmla="*/ 155 h 416"/>
                <a:gd name="T36" fmla="*/ 151 w 206"/>
                <a:gd name="T37" fmla="*/ 136 h 416"/>
                <a:gd name="T38" fmla="*/ 164 w 206"/>
                <a:gd name="T39" fmla="*/ 113 h 416"/>
                <a:gd name="T40" fmla="*/ 191 w 206"/>
                <a:gd name="T41" fmla="*/ 66 h 416"/>
                <a:gd name="T42" fmla="*/ 206 w 206"/>
                <a:gd name="T43" fmla="*/ 38 h 416"/>
                <a:gd name="T44" fmla="*/ 92 w 206"/>
                <a:gd name="T45"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416">
                  <a:moveTo>
                    <a:pt x="92" y="0"/>
                  </a:moveTo>
                  <a:lnTo>
                    <a:pt x="82" y="31"/>
                  </a:lnTo>
                  <a:lnTo>
                    <a:pt x="65" y="85"/>
                  </a:lnTo>
                  <a:lnTo>
                    <a:pt x="57" y="111"/>
                  </a:lnTo>
                  <a:lnTo>
                    <a:pt x="50" y="133"/>
                  </a:lnTo>
                  <a:lnTo>
                    <a:pt x="1" y="288"/>
                  </a:lnTo>
                  <a:cubicBezTo>
                    <a:pt x="0" y="291"/>
                    <a:pt x="2" y="294"/>
                    <a:pt x="5" y="294"/>
                  </a:cubicBezTo>
                  <a:lnTo>
                    <a:pt x="50" y="294"/>
                  </a:lnTo>
                  <a:cubicBezTo>
                    <a:pt x="52" y="294"/>
                    <a:pt x="53" y="294"/>
                    <a:pt x="53" y="295"/>
                  </a:cubicBezTo>
                  <a:cubicBezTo>
                    <a:pt x="54" y="296"/>
                    <a:pt x="55" y="298"/>
                    <a:pt x="54" y="299"/>
                  </a:cubicBezTo>
                  <a:lnTo>
                    <a:pt x="8" y="412"/>
                  </a:lnTo>
                  <a:cubicBezTo>
                    <a:pt x="6" y="415"/>
                    <a:pt x="7" y="416"/>
                    <a:pt x="9" y="413"/>
                  </a:cubicBezTo>
                  <a:lnTo>
                    <a:pt x="157" y="246"/>
                  </a:lnTo>
                  <a:cubicBezTo>
                    <a:pt x="159" y="244"/>
                    <a:pt x="158" y="242"/>
                    <a:pt x="155" y="242"/>
                  </a:cubicBezTo>
                  <a:lnTo>
                    <a:pt x="106" y="242"/>
                  </a:lnTo>
                  <a:lnTo>
                    <a:pt x="97" y="242"/>
                  </a:lnTo>
                  <a:cubicBezTo>
                    <a:pt x="94" y="242"/>
                    <a:pt x="93" y="240"/>
                    <a:pt x="94" y="237"/>
                  </a:cubicBezTo>
                  <a:lnTo>
                    <a:pt x="140" y="155"/>
                  </a:lnTo>
                  <a:lnTo>
                    <a:pt x="151" y="136"/>
                  </a:lnTo>
                  <a:lnTo>
                    <a:pt x="164" y="113"/>
                  </a:lnTo>
                  <a:lnTo>
                    <a:pt x="191" y="66"/>
                  </a:lnTo>
                  <a:lnTo>
                    <a:pt x="206" y="38"/>
                  </a:lnTo>
                  <a:cubicBezTo>
                    <a:pt x="172" y="18"/>
                    <a:pt x="133" y="5"/>
                    <a:pt x="92" y="0"/>
                  </a:cubicBezTo>
                  <a:close/>
                </a:path>
              </a:pathLst>
            </a:custGeom>
            <a:solidFill>
              <a:srgbClr val="0072C6"/>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4016"/>
              <a:endParaRPr lang="en-US">
                <a:solidFill>
                  <a:srgbClr val="505050"/>
                </a:solidFill>
              </a:endParaRPr>
            </a:p>
          </p:txBody>
        </p:sp>
      </p:grpSp>
    </p:spTree>
    <p:extLst>
      <p:ext uri="{BB962C8B-B14F-4D97-AF65-F5344CB8AC3E}">
        <p14:creationId xmlns:p14="http://schemas.microsoft.com/office/powerpoint/2010/main" val="1885675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900767" y="216811"/>
            <a:ext cx="4625107" cy="5527953"/>
            <a:chOff x="4999037" y="220662"/>
            <a:chExt cx="4717850" cy="5638800"/>
          </a:xfrm>
        </p:grpSpPr>
        <p:pic>
          <p:nvPicPr>
            <p:cNvPr id="4" name="Picture 3"/>
            <p:cNvPicPr>
              <a:picLocks noChangeAspect="1"/>
            </p:cNvPicPr>
            <p:nvPr/>
          </p:nvPicPr>
          <p:blipFill rotWithShape="1">
            <a:blip r:embed="rId2"/>
            <a:srcRect r="60832"/>
            <a:stretch/>
          </p:blipFill>
          <p:spPr>
            <a:xfrm>
              <a:off x="4999037" y="220662"/>
              <a:ext cx="4717850" cy="5638800"/>
            </a:xfrm>
            <a:prstGeom prst="rect">
              <a:avLst/>
            </a:prstGeom>
            <a:ln>
              <a:solidFill>
                <a:schemeClr val="bg1">
                  <a:lumMod val="75000"/>
                </a:schemeClr>
              </a:solidFill>
            </a:ln>
          </p:spPr>
        </p:pic>
        <p:sp>
          <p:nvSpPr>
            <p:cNvPr id="6" name="Rectangle 5"/>
            <p:cNvSpPr/>
            <p:nvPr/>
          </p:nvSpPr>
          <p:spPr bwMode="auto">
            <a:xfrm>
              <a:off x="5169534" y="599120"/>
              <a:ext cx="1658303" cy="154942"/>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269239" y="560751"/>
            <a:ext cx="4033912" cy="5669578"/>
          </a:xfrm>
        </p:spPr>
        <p:txBody>
          <a:bodyPr/>
          <a:lstStyle/>
          <a:p>
            <a:r>
              <a:rPr lang="en-US" dirty="0"/>
              <a:t>Prioritized recommendations take the guesswork out of security for resource owners</a:t>
            </a:r>
          </a:p>
        </p:txBody>
      </p:sp>
      <p:sp>
        <p:nvSpPr>
          <p:cNvPr id="10" name="Rectangle 9"/>
          <p:cNvSpPr/>
          <p:nvPr/>
        </p:nvSpPr>
        <p:spPr bwMode="auto">
          <a:xfrm>
            <a:off x="5087522" y="4026618"/>
            <a:ext cx="4220667" cy="224106"/>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rotWithShape="1">
          <a:blip r:embed="rId2"/>
          <a:srcRect l="78873"/>
          <a:stretch/>
        </p:blipFill>
        <p:spPr>
          <a:xfrm>
            <a:off x="9318796" y="1113236"/>
            <a:ext cx="2494707" cy="5527953"/>
          </a:xfrm>
          <a:prstGeom prst="rect">
            <a:avLst/>
          </a:prstGeom>
          <a:ln>
            <a:solidFill>
              <a:schemeClr val="bg1">
                <a:lumMod val="75000"/>
              </a:schemeClr>
            </a:solidFill>
          </a:ln>
        </p:spPr>
      </p:pic>
    </p:spTree>
    <p:extLst>
      <p:ext uri="{BB962C8B-B14F-4D97-AF65-F5344CB8AC3E}">
        <p14:creationId xmlns:p14="http://schemas.microsoft.com/office/powerpoint/2010/main" val="484820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2"/>
          <p:cNvSpPr txBox="1">
            <a:spLocks/>
          </p:cNvSpPr>
          <p:nvPr/>
        </p:nvSpPr>
        <p:spPr>
          <a:xfrm>
            <a:off x="303001" y="2501825"/>
            <a:ext cx="4107424" cy="4128013"/>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Integrated partner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Connected security solutions running in Azure, e.g. firewalls </a:t>
            </a:r>
            <a:br>
              <a:rPr lang="en-US" sz="1765" dirty="0">
                <a:solidFill>
                  <a:schemeClr val="bg1"/>
                </a:solidFill>
                <a:latin typeface="+mn-lt"/>
                <a:ea typeface="Calibri" panose="020F0502020204030204" pitchFamily="34" charset="0"/>
                <a:cs typeface="Segoe UI" panose="020B0502040204020203" pitchFamily="34" charset="0"/>
              </a:rPr>
            </a:br>
            <a:r>
              <a:rPr lang="en-US" sz="1765" dirty="0">
                <a:solidFill>
                  <a:schemeClr val="bg1"/>
                </a:solidFill>
                <a:latin typeface="+mn-lt"/>
                <a:ea typeface="Calibri" panose="020F0502020204030204" pitchFamily="34" charset="0"/>
                <a:cs typeface="Segoe UI" panose="020B0502040204020203" pitchFamily="34" charset="0"/>
              </a:rPr>
              <a:t>and antimalware solutions</a:t>
            </a:r>
            <a:br>
              <a:rPr lang="en-US" sz="1765" dirty="0">
                <a:solidFill>
                  <a:schemeClr val="bg1"/>
                </a:solidFill>
                <a:latin typeface="+mn-lt"/>
                <a:ea typeface="Calibri" panose="020F0502020204030204" pitchFamily="34" charset="0"/>
                <a:cs typeface="Segoe UI" panose="020B0502040204020203" pitchFamily="34" charset="0"/>
              </a:rPr>
            </a:br>
            <a:endParaRPr lang="en-US" sz="1765" dirty="0">
              <a:solidFill>
                <a:schemeClr val="bg1"/>
              </a:solidFill>
              <a:latin typeface="+mn-lt"/>
              <a:ea typeface="Calibri" panose="020F0502020204030204" pitchFamily="34" charset="0"/>
              <a:cs typeface="Segoe UI" panose="020B0502040204020203" pitchFamily="34" charset="0"/>
            </a:endParaRPr>
          </a:p>
          <a:p>
            <a:pPr marL="0" indent="-448193">
              <a:spcBef>
                <a:spcPts val="0"/>
              </a:spcBef>
              <a:spcAft>
                <a:spcPts val="980"/>
              </a:spcAft>
              <a:buNone/>
            </a:pPr>
            <a:r>
              <a:rPr lang="en-US" sz="1765" b="1" kern="0" dirty="0">
                <a:solidFill>
                  <a:schemeClr val="bg1"/>
                </a:solidFill>
                <a:latin typeface="Segoe UI" panose="020B0502040204020203" pitchFamily="34" charset="0"/>
                <a:cs typeface="Segoe UI" panose="020B0502040204020203" pitchFamily="34" charset="0"/>
              </a:rPr>
              <a:t>Microsoft security</a:t>
            </a:r>
          </a:p>
          <a:p>
            <a:pPr marL="448193" indent="0">
              <a:spcBef>
                <a:spcPts val="0"/>
              </a:spcBef>
              <a:spcAft>
                <a:spcPts val="980"/>
              </a:spcAft>
              <a:buNone/>
            </a:pPr>
            <a:r>
              <a:rPr lang="en-US" sz="1765" dirty="0">
                <a:solidFill>
                  <a:schemeClr val="bg1"/>
                </a:solidFill>
                <a:latin typeface="+mn-lt"/>
                <a:cs typeface="Segoe UI" panose="020B0502040204020203" pitchFamily="34" charset="0"/>
              </a:rPr>
              <a:t>Azure Active Directory </a:t>
            </a:r>
            <a:br>
              <a:rPr lang="en-US" sz="1765" dirty="0">
                <a:solidFill>
                  <a:schemeClr val="bg1"/>
                </a:solidFill>
                <a:latin typeface="+mn-lt"/>
                <a:cs typeface="Segoe UI" panose="020B0502040204020203" pitchFamily="34" charset="0"/>
              </a:rPr>
            </a:br>
            <a:r>
              <a:rPr lang="en-US" sz="1765" dirty="0">
                <a:solidFill>
                  <a:schemeClr val="bg1"/>
                </a:solidFill>
                <a:latin typeface="+mn-lt"/>
                <a:cs typeface="Segoe UI" panose="020B0502040204020203" pitchFamily="34" charset="0"/>
              </a:rPr>
              <a:t>Information Protection</a:t>
            </a:r>
          </a:p>
          <a:p>
            <a:pPr marL="448193" indent="0">
              <a:spcBef>
                <a:spcPts val="0"/>
              </a:spcBef>
              <a:spcAft>
                <a:spcPts val="980"/>
              </a:spcAft>
              <a:buNone/>
            </a:pPr>
            <a:r>
              <a:rPr lang="en-US" sz="1765" dirty="0">
                <a:solidFill>
                  <a:schemeClr val="bg1"/>
                </a:solidFill>
                <a:latin typeface="+mn-lt"/>
                <a:cs typeface="Segoe UI" panose="020B0502040204020203" pitchFamily="34" charset="0"/>
              </a:rPr>
              <a:t>Advanced Threat Analytics</a:t>
            </a:r>
            <a:br>
              <a:rPr lang="en-US" sz="1765" dirty="0">
                <a:solidFill>
                  <a:schemeClr val="bg1"/>
                </a:solidFill>
                <a:latin typeface="+mn-lt"/>
                <a:ea typeface="Calibri" panose="020F0502020204030204" pitchFamily="34" charset="0"/>
                <a:cs typeface="Segoe UI" panose="020B0502040204020203" pitchFamily="34" charset="0"/>
              </a:rPr>
            </a:br>
            <a:endParaRPr lang="en-US" sz="1765" dirty="0">
              <a:solidFill>
                <a:schemeClr val="bg1"/>
              </a:solidFill>
              <a:ea typeface="Calibri" panose="020F0502020204030204" pitchFamily="34" charset="0"/>
              <a:cs typeface="Segoe UI" panose="020B0502040204020203" pitchFamily="34" charset="0"/>
            </a:endParaRPr>
          </a:p>
          <a:p>
            <a:pPr marL="0" indent="-448193">
              <a:spcBef>
                <a:spcPts val="0"/>
              </a:spcBef>
              <a:spcAft>
                <a:spcPts val="980"/>
              </a:spcAft>
              <a:buNone/>
            </a:pPr>
            <a:r>
              <a:rPr lang="en-US" sz="1765" b="1" kern="0" dirty="0">
                <a:solidFill>
                  <a:schemeClr val="bg1"/>
                </a:solidFill>
                <a:latin typeface="Segoe UI" panose="020B0502040204020203" pitchFamily="34" charset="0"/>
                <a:cs typeface="Segoe UI" panose="020B0502040204020203" pitchFamily="34" charset="0"/>
              </a:rPr>
              <a:t>Many others</a:t>
            </a:r>
          </a:p>
          <a:p>
            <a:pPr marL="448193" indent="0">
              <a:spcBef>
                <a:spcPts val="0"/>
              </a:spcBef>
              <a:spcAft>
                <a:spcPts val="980"/>
              </a:spcAft>
              <a:buNone/>
            </a:pPr>
            <a:r>
              <a:rPr lang="en-US" sz="1765" dirty="0">
                <a:solidFill>
                  <a:schemeClr val="bg1"/>
                </a:solidFill>
                <a:latin typeface="+mn-lt"/>
                <a:cs typeface="Segoe UI" panose="020B0502040204020203" pitchFamily="34" charset="0"/>
              </a:rPr>
              <a:t>Any security solution that supports Common Event Format (CEF)</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6"/>
            <a:ext cx="8282368" cy="1374463"/>
          </a:xfrm>
        </p:spPr>
        <p:txBody>
          <a:bodyPr>
            <a:normAutofit fontScale="90000"/>
          </a:bodyPr>
          <a:lstStyle/>
          <a:p>
            <a:r>
              <a:rPr lang="en-US" dirty="0"/>
              <a:t>Analyze security information from variety of sources</a:t>
            </a:r>
          </a:p>
        </p:txBody>
      </p:sp>
      <p:grpSp>
        <p:nvGrpSpPr>
          <p:cNvPr id="30" name="Group 29"/>
          <p:cNvGrpSpPr/>
          <p:nvPr/>
        </p:nvGrpSpPr>
        <p:grpSpPr>
          <a:xfrm>
            <a:off x="10664930" y="399731"/>
            <a:ext cx="1151534" cy="777313"/>
            <a:chOff x="4845050" y="-3294063"/>
            <a:chExt cx="5065713" cy="3419476"/>
          </a:xfrm>
          <a:solidFill>
            <a:schemeClr val="accent1"/>
          </a:solidFill>
        </p:grpSpPr>
        <p:sp>
          <p:nvSpPr>
            <p:cNvPr id="31"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4" name="L-Shape 3"/>
          <p:cNvSpPr/>
          <p:nvPr/>
        </p:nvSpPr>
        <p:spPr bwMode="auto">
          <a:xfrm rot="13500000">
            <a:off x="599897" y="3026935"/>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6" name="L-Shape 25"/>
          <p:cNvSpPr/>
          <p:nvPr/>
        </p:nvSpPr>
        <p:spPr bwMode="auto">
          <a:xfrm rot="13500000">
            <a:off x="599897" y="4486738"/>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7" name="L-Shape 26"/>
          <p:cNvSpPr/>
          <p:nvPr/>
        </p:nvSpPr>
        <p:spPr bwMode="auto">
          <a:xfrm rot="13500000">
            <a:off x="599897" y="5093883"/>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L-Shape 20"/>
          <p:cNvSpPr/>
          <p:nvPr/>
        </p:nvSpPr>
        <p:spPr bwMode="auto">
          <a:xfrm rot="13500000">
            <a:off x="599897" y="6071046"/>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51" name="Group 50">
            <a:extLst>
              <a:ext uri="{FF2B5EF4-FFF2-40B4-BE49-F238E27FC236}">
                <a16:creationId xmlns:a16="http://schemas.microsoft.com/office/drawing/2014/main" id="{61E727C9-5BB3-4452-94DE-1D6E3DEB4333}"/>
              </a:ext>
            </a:extLst>
          </p:cNvPr>
          <p:cNvGrpSpPr/>
          <p:nvPr/>
        </p:nvGrpSpPr>
        <p:grpSpPr>
          <a:xfrm>
            <a:off x="5365417" y="5258353"/>
            <a:ext cx="625630" cy="625630"/>
            <a:chOff x="6200775" y="5660111"/>
            <a:chExt cx="638175" cy="638175"/>
          </a:xfrm>
        </p:grpSpPr>
        <p:sp>
          <p:nvSpPr>
            <p:cNvPr id="7" name="Oval 6">
              <a:extLst>
                <a:ext uri="{FF2B5EF4-FFF2-40B4-BE49-F238E27FC236}">
                  <a16:creationId xmlns:a16="http://schemas.microsoft.com/office/drawing/2014/main" id="{F01DEAE3-2202-4BE5-827C-2C7471CAE85C}"/>
                </a:ext>
              </a:extLst>
            </p:cNvPr>
            <p:cNvSpPr/>
            <p:nvPr/>
          </p:nvSpPr>
          <p:spPr bwMode="auto">
            <a:xfrm>
              <a:off x="6200775" y="5660111"/>
              <a:ext cx="638175" cy="638175"/>
            </a:xfrm>
            <a:prstGeom prst="ellipse">
              <a:avLst/>
            </a:prstGeom>
            <a:solidFill>
              <a:schemeClr val="accent1"/>
            </a:solidFill>
            <a:ln w="19050" cap="rnd">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89FDD73F-EC78-4E4F-8CAD-B7D1A75EADCA}"/>
                </a:ext>
              </a:extLst>
            </p:cNvPr>
            <p:cNvPicPr>
              <a:picLocks noChangeAspect="1"/>
            </p:cNvPicPr>
            <p:nvPr/>
          </p:nvPicPr>
          <p:blipFill>
            <a:blip r:embed="rId3"/>
            <a:stretch>
              <a:fillRect/>
            </a:stretch>
          </p:blipFill>
          <p:spPr>
            <a:xfrm>
              <a:off x="6298244" y="5775731"/>
              <a:ext cx="443236" cy="406933"/>
            </a:xfrm>
            <a:prstGeom prst="rect">
              <a:avLst/>
            </a:prstGeom>
          </p:spPr>
        </p:pic>
      </p:grpSp>
      <p:grpSp>
        <p:nvGrpSpPr>
          <p:cNvPr id="18" name="Group 17">
            <a:extLst>
              <a:ext uri="{FF2B5EF4-FFF2-40B4-BE49-F238E27FC236}">
                <a16:creationId xmlns:a16="http://schemas.microsoft.com/office/drawing/2014/main" id="{38EECB70-C2DD-4C11-9803-7B8D5CEF0DCC}"/>
              </a:ext>
            </a:extLst>
          </p:cNvPr>
          <p:cNvGrpSpPr/>
          <p:nvPr/>
        </p:nvGrpSpPr>
        <p:grpSpPr>
          <a:xfrm>
            <a:off x="7695841" y="3925303"/>
            <a:ext cx="665991" cy="905278"/>
            <a:chOff x="6824432" y="3619511"/>
            <a:chExt cx="717140" cy="974806"/>
          </a:xfrm>
        </p:grpSpPr>
        <p:sp>
          <p:nvSpPr>
            <p:cNvPr id="14" name="Rectangle 13">
              <a:extLst>
                <a:ext uri="{FF2B5EF4-FFF2-40B4-BE49-F238E27FC236}">
                  <a16:creationId xmlns:a16="http://schemas.microsoft.com/office/drawing/2014/main" id="{6D031F0B-04D1-4B02-9465-73A62ADAE29F}"/>
                </a:ext>
              </a:extLst>
            </p:cNvPr>
            <p:cNvSpPr/>
            <p:nvPr/>
          </p:nvSpPr>
          <p:spPr bwMode="auto">
            <a:xfrm>
              <a:off x="6913536" y="3787202"/>
              <a:ext cx="511175" cy="5619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a:extLst>
                <a:ext uri="{FF2B5EF4-FFF2-40B4-BE49-F238E27FC236}">
                  <a16:creationId xmlns:a16="http://schemas.microsoft.com/office/drawing/2014/main" id="{456B30B6-90E5-4051-A153-829CA0C7AA00}"/>
                </a:ext>
              </a:extLst>
            </p:cNvPr>
            <p:cNvGrpSpPr/>
            <p:nvPr/>
          </p:nvGrpSpPr>
          <p:grpSpPr>
            <a:xfrm>
              <a:off x="6824432" y="3619511"/>
              <a:ext cx="717140" cy="974806"/>
              <a:chOff x="4702174" y="2840038"/>
              <a:chExt cx="631825" cy="858838"/>
            </a:xfrm>
            <a:solidFill>
              <a:srgbClr val="D83B01"/>
            </a:solidFill>
          </p:grpSpPr>
          <p:sp>
            <p:nvSpPr>
              <p:cNvPr id="48" name="Freeform 18">
                <a:extLst>
                  <a:ext uri="{FF2B5EF4-FFF2-40B4-BE49-F238E27FC236}">
                    <a16:creationId xmlns:a16="http://schemas.microsoft.com/office/drawing/2014/main" id="{DB5DD761-DEA1-42C5-A8A7-1F4393FD9373}"/>
                  </a:ext>
                </a:extLst>
              </p:cNvPr>
              <p:cNvSpPr>
                <a:spLocks/>
              </p:cNvSpPr>
              <p:nvPr/>
            </p:nvSpPr>
            <p:spPr bwMode="auto">
              <a:xfrm>
                <a:off x="4962526" y="3136901"/>
                <a:ext cx="115888" cy="123825"/>
              </a:xfrm>
              <a:custGeom>
                <a:avLst/>
                <a:gdLst>
                  <a:gd name="T0" fmla="*/ 14 w 27"/>
                  <a:gd name="T1" fmla="*/ 0 h 29"/>
                  <a:gd name="T2" fmla="*/ 4 w 27"/>
                  <a:gd name="T3" fmla="*/ 4 h 29"/>
                  <a:gd name="T4" fmla="*/ 0 w 27"/>
                  <a:gd name="T5" fmla="*/ 15 h 29"/>
                  <a:gd name="T6" fmla="*/ 0 w 27"/>
                  <a:gd name="T7" fmla="*/ 29 h 29"/>
                  <a:gd name="T8" fmla="*/ 6 w 27"/>
                  <a:gd name="T9" fmla="*/ 29 h 29"/>
                  <a:gd name="T10" fmla="*/ 26 w 27"/>
                  <a:gd name="T11" fmla="*/ 29 h 29"/>
                  <a:gd name="T12" fmla="*/ 27 w 27"/>
                  <a:gd name="T13" fmla="*/ 15 h 29"/>
                  <a:gd name="T14" fmla="*/ 24 w 27"/>
                  <a:gd name="T15" fmla="*/ 6 h 29"/>
                  <a:gd name="T16" fmla="*/ 23 w 27"/>
                  <a:gd name="T17" fmla="*/ 4 h 29"/>
                  <a:gd name="T18" fmla="*/ 14 w 27"/>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9">
                    <a:moveTo>
                      <a:pt x="14" y="0"/>
                    </a:moveTo>
                    <a:cubicBezTo>
                      <a:pt x="10" y="0"/>
                      <a:pt x="7" y="2"/>
                      <a:pt x="4" y="4"/>
                    </a:cubicBezTo>
                    <a:cubicBezTo>
                      <a:pt x="2" y="7"/>
                      <a:pt x="0" y="11"/>
                      <a:pt x="0" y="15"/>
                    </a:cubicBezTo>
                    <a:cubicBezTo>
                      <a:pt x="0" y="29"/>
                      <a:pt x="0" y="29"/>
                      <a:pt x="0" y="29"/>
                    </a:cubicBezTo>
                    <a:cubicBezTo>
                      <a:pt x="6" y="29"/>
                      <a:pt x="6" y="29"/>
                      <a:pt x="6" y="29"/>
                    </a:cubicBezTo>
                    <a:cubicBezTo>
                      <a:pt x="26" y="29"/>
                      <a:pt x="26" y="29"/>
                      <a:pt x="26" y="29"/>
                    </a:cubicBezTo>
                    <a:cubicBezTo>
                      <a:pt x="26" y="29"/>
                      <a:pt x="26" y="15"/>
                      <a:pt x="27" y="15"/>
                    </a:cubicBezTo>
                    <a:cubicBezTo>
                      <a:pt x="27" y="12"/>
                      <a:pt x="26" y="9"/>
                      <a:pt x="24" y="6"/>
                    </a:cubicBezTo>
                    <a:cubicBezTo>
                      <a:pt x="24" y="6"/>
                      <a:pt x="23" y="5"/>
                      <a:pt x="23" y="4"/>
                    </a:cubicBezTo>
                    <a:cubicBezTo>
                      <a:pt x="20" y="2"/>
                      <a:pt x="17" y="0"/>
                      <a:pt x="14" y="0"/>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9" name="Freeform 19">
                <a:extLst>
                  <a:ext uri="{FF2B5EF4-FFF2-40B4-BE49-F238E27FC236}">
                    <a16:creationId xmlns:a16="http://schemas.microsoft.com/office/drawing/2014/main" id="{F97802E2-CE5C-46B0-8502-7B30577B27BE}"/>
                  </a:ext>
                </a:extLst>
              </p:cNvPr>
              <p:cNvSpPr>
                <a:spLocks noEditPoints="1"/>
              </p:cNvSpPr>
              <p:nvPr/>
            </p:nvSpPr>
            <p:spPr bwMode="auto">
              <a:xfrm>
                <a:off x="4702174" y="2840038"/>
                <a:ext cx="631825" cy="858838"/>
              </a:xfrm>
              <a:custGeom>
                <a:avLst/>
                <a:gdLst>
                  <a:gd name="T0" fmla="*/ 44 w 146"/>
                  <a:gd name="T1" fmla="*/ 143 h 200"/>
                  <a:gd name="T2" fmla="*/ 41 w 146"/>
                  <a:gd name="T3" fmla="*/ 139 h 200"/>
                  <a:gd name="T4" fmla="*/ 41 w 146"/>
                  <a:gd name="T5" fmla="*/ 131 h 200"/>
                  <a:gd name="T6" fmla="*/ 41 w 146"/>
                  <a:gd name="T7" fmla="*/ 102 h 200"/>
                  <a:gd name="T8" fmla="*/ 44 w 146"/>
                  <a:gd name="T9" fmla="*/ 99 h 200"/>
                  <a:gd name="T10" fmla="*/ 48 w 146"/>
                  <a:gd name="T11" fmla="*/ 99 h 200"/>
                  <a:gd name="T12" fmla="*/ 48 w 146"/>
                  <a:gd name="T13" fmla="*/ 84 h 200"/>
                  <a:gd name="T14" fmla="*/ 56 w 146"/>
                  <a:gd name="T15" fmla="*/ 66 h 200"/>
                  <a:gd name="T16" fmla="*/ 73 w 146"/>
                  <a:gd name="T17" fmla="*/ 58 h 200"/>
                  <a:gd name="T18" fmla="*/ 91 w 146"/>
                  <a:gd name="T19" fmla="*/ 66 h 200"/>
                  <a:gd name="T20" fmla="*/ 91 w 146"/>
                  <a:gd name="T21" fmla="*/ 66 h 200"/>
                  <a:gd name="T22" fmla="*/ 98 w 146"/>
                  <a:gd name="T23" fmla="*/ 84 h 200"/>
                  <a:gd name="T24" fmla="*/ 98 w 146"/>
                  <a:gd name="T25" fmla="*/ 98 h 200"/>
                  <a:gd name="T26" fmla="*/ 102 w 146"/>
                  <a:gd name="T27" fmla="*/ 98 h 200"/>
                  <a:gd name="T28" fmla="*/ 105 w 146"/>
                  <a:gd name="T29" fmla="*/ 102 h 200"/>
                  <a:gd name="T30" fmla="*/ 105 w 146"/>
                  <a:gd name="T31" fmla="*/ 139 h 200"/>
                  <a:gd name="T32" fmla="*/ 102 w 146"/>
                  <a:gd name="T33" fmla="*/ 143 h 200"/>
                  <a:gd name="T34" fmla="*/ 44 w 146"/>
                  <a:gd name="T35" fmla="*/ 143 h 200"/>
                  <a:gd name="T36" fmla="*/ 73 w 146"/>
                  <a:gd name="T37" fmla="*/ 0 h 200"/>
                  <a:gd name="T38" fmla="*/ 0 w 146"/>
                  <a:gd name="T39" fmla="*/ 25 h 200"/>
                  <a:gd name="T40" fmla="*/ 0 w 146"/>
                  <a:gd name="T41" fmla="*/ 127 h 200"/>
                  <a:gd name="T42" fmla="*/ 16 w 146"/>
                  <a:gd name="T43" fmla="*/ 161 h 200"/>
                  <a:gd name="T44" fmla="*/ 73 w 146"/>
                  <a:gd name="T45" fmla="*/ 200 h 200"/>
                  <a:gd name="T46" fmla="*/ 146 w 146"/>
                  <a:gd name="T47" fmla="*/ 127 h 200"/>
                  <a:gd name="T48" fmla="*/ 146 w 146"/>
                  <a:gd name="T49" fmla="*/ 25 h 200"/>
                  <a:gd name="T50" fmla="*/ 125 w 146"/>
                  <a:gd name="T51" fmla="*/ 24 h 200"/>
                  <a:gd name="T52" fmla="*/ 73 w 146"/>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200">
                    <a:moveTo>
                      <a:pt x="44" y="143"/>
                    </a:moveTo>
                    <a:cubicBezTo>
                      <a:pt x="42" y="143"/>
                      <a:pt x="41" y="141"/>
                      <a:pt x="41" y="139"/>
                    </a:cubicBezTo>
                    <a:cubicBezTo>
                      <a:pt x="41" y="131"/>
                      <a:pt x="41" y="131"/>
                      <a:pt x="41" y="131"/>
                    </a:cubicBezTo>
                    <a:cubicBezTo>
                      <a:pt x="41" y="102"/>
                      <a:pt x="41" y="102"/>
                      <a:pt x="41" y="102"/>
                    </a:cubicBezTo>
                    <a:cubicBezTo>
                      <a:pt x="41" y="100"/>
                      <a:pt x="42" y="99"/>
                      <a:pt x="44" y="99"/>
                    </a:cubicBezTo>
                    <a:cubicBezTo>
                      <a:pt x="48" y="99"/>
                      <a:pt x="48" y="99"/>
                      <a:pt x="48" y="99"/>
                    </a:cubicBezTo>
                    <a:cubicBezTo>
                      <a:pt x="48" y="84"/>
                      <a:pt x="48" y="84"/>
                      <a:pt x="48" y="84"/>
                    </a:cubicBezTo>
                    <a:cubicBezTo>
                      <a:pt x="48" y="77"/>
                      <a:pt x="51" y="71"/>
                      <a:pt x="56" y="66"/>
                    </a:cubicBezTo>
                    <a:cubicBezTo>
                      <a:pt x="60" y="61"/>
                      <a:pt x="66" y="58"/>
                      <a:pt x="73" y="58"/>
                    </a:cubicBezTo>
                    <a:cubicBezTo>
                      <a:pt x="80" y="58"/>
                      <a:pt x="86" y="61"/>
                      <a:pt x="91" y="66"/>
                    </a:cubicBezTo>
                    <a:cubicBezTo>
                      <a:pt x="91" y="66"/>
                      <a:pt x="91" y="66"/>
                      <a:pt x="91" y="66"/>
                    </a:cubicBezTo>
                    <a:cubicBezTo>
                      <a:pt x="96" y="71"/>
                      <a:pt x="98" y="77"/>
                      <a:pt x="98" y="84"/>
                    </a:cubicBezTo>
                    <a:cubicBezTo>
                      <a:pt x="98" y="98"/>
                      <a:pt x="98" y="98"/>
                      <a:pt x="98" y="98"/>
                    </a:cubicBezTo>
                    <a:cubicBezTo>
                      <a:pt x="102" y="98"/>
                      <a:pt x="102" y="98"/>
                      <a:pt x="102" y="98"/>
                    </a:cubicBezTo>
                    <a:cubicBezTo>
                      <a:pt x="104" y="98"/>
                      <a:pt x="106" y="99"/>
                      <a:pt x="105" y="102"/>
                    </a:cubicBezTo>
                    <a:cubicBezTo>
                      <a:pt x="105" y="139"/>
                      <a:pt x="105" y="139"/>
                      <a:pt x="105" y="139"/>
                    </a:cubicBezTo>
                    <a:cubicBezTo>
                      <a:pt x="105" y="141"/>
                      <a:pt x="104" y="143"/>
                      <a:pt x="102" y="143"/>
                    </a:cubicBezTo>
                    <a:cubicBezTo>
                      <a:pt x="44" y="143"/>
                      <a:pt x="44" y="143"/>
                      <a:pt x="44" y="143"/>
                    </a:cubicBezTo>
                    <a:moveTo>
                      <a:pt x="73" y="0"/>
                    </a:moveTo>
                    <a:cubicBezTo>
                      <a:pt x="73" y="0"/>
                      <a:pt x="63" y="25"/>
                      <a:pt x="0" y="25"/>
                    </a:cubicBezTo>
                    <a:cubicBezTo>
                      <a:pt x="0" y="127"/>
                      <a:pt x="0" y="127"/>
                      <a:pt x="0" y="127"/>
                    </a:cubicBezTo>
                    <a:cubicBezTo>
                      <a:pt x="0" y="140"/>
                      <a:pt x="7" y="151"/>
                      <a:pt x="16" y="161"/>
                    </a:cubicBezTo>
                    <a:cubicBezTo>
                      <a:pt x="38" y="184"/>
                      <a:pt x="73" y="200"/>
                      <a:pt x="73" y="200"/>
                    </a:cubicBezTo>
                    <a:cubicBezTo>
                      <a:pt x="73" y="200"/>
                      <a:pt x="146" y="168"/>
                      <a:pt x="146" y="127"/>
                    </a:cubicBezTo>
                    <a:cubicBezTo>
                      <a:pt x="146" y="25"/>
                      <a:pt x="146" y="25"/>
                      <a:pt x="146" y="25"/>
                    </a:cubicBezTo>
                    <a:cubicBezTo>
                      <a:pt x="138" y="25"/>
                      <a:pt x="131" y="25"/>
                      <a:pt x="125" y="24"/>
                    </a:cubicBezTo>
                    <a:cubicBezTo>
                      <a:pt x="81" y="19"/>
                      <a:pt x="73" y="0"/>
                      <a:pt x="73" y="0"/>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sp>
        <p:nvSpPr>
          <p:cNvPr id="23" name="Freeform 10">
            <a:extLst>
              <a:ext uri="{FF2B5EF4-FFF2-40B4-BE49-F238E27FC236}">
                <a16:creationId xmlns:a16="http://schemas.microsoft.com/office/drawing/2014/main" id="{A1F71DAA-6B13-4209-959B-3DB4F473A572}"/>
              </a:ext>
            </a:extLst>
          </p:cNvPr>
          <p:cNvSpPr>
            <a:spLocks/>
          </p:cNvSpPr>
          <p:nvPr/>
        </p:nvSpPr>
        <p:spPr bwMode="auto">
          <a:xfrm>
            <a:off x="5813566" y="2813754"/>
            <a:ext cx="1021182" cy="604138"/>
          </a:xfrm>
          <a:custGeom>
            <a:avLst/>
            <a:gdLst>
              <a:gd name="T0" fmla="*/ 300 w 365"/>
              <a:gd name="T1" fmla="*/ 216 h 216"/>
              <a:gd name="T2" fmla="*/ 64 w 365"/>
              <a:gd name="T3" fmla="*/ 216 h 216"/>
              <a:gd name="T4" fmla="*/ 0 w 365"/>
              <a:gd name="T5" fmla="*/ 151 h 216"/>
              <a:gd name="T6" fmla="*/ 64 w 365"/>
              <a:gd name="T7" fmla="*/ 86 h 216"/>
              <a:gd name="T8" fmla="*/ 80 w 365"/>
              <a:gd name="T9" fmla="*/ 88 h 216"/>
              <a:gd name="T10" fmla="*/ 143 w 365"/>
              <a:gd name="T11" fmla="*/ 35 h 216"/>
              <a:gd name="T12" fmla="*/ 182 w 365"/>
              <a:gd name="T13" fmla="*/ 48 h 216"/>
              <a:gd name="T14" fmla="*/ 244 w 365"/>
              <a:gd name="T15" fmla="*/ 0 h 216"/>
              <a:gd name="T16" fmla="*/ 306 w 365"/>
              <a:gd name="T17" fmla="*/ 66 h 216"/>
              <a:gd name="T18" fmla="*/ 304 w 365"/>
              <a:gd name="T19" fmla="*/ 86 h 216"/>
              <a:gd name="T20" fmla="*/ 365 w 365"/>
              <a:gd name="T21" fmla="*/ 151 h 216"/>
              <a:gd name="T22" fmla="*/ 300 w 365"/>
              <a:gd name="T2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16">
                <a:moveTo>
                  <a:pt x="300" y="216"/>
                </a:moveTo>
                <a:cubicBezTo>
                  <a:pt x="64" y="216"/>
                  <a:pt x="64" y="216"/>
                  <a:pt x="64" y="216"/>
                </a:cubicBezTo>
                <a:cubicBezTo>
                  <a:pt x="30" y="216"/>
                  <a:pt x="0" y="186"/>
                  <a:pt x="0" y="151"/>
                </a:cubicBezTo>
                <a:cubicBezTo>
                  <a:pt x="0" y="115"/>
                  <a:pt x="30" y="86"/>
                  <a:pt x="64" y="86"/>
                </a:cubicBezTo>
                <a:cubicBezTo>
                  <a:pt x="70" y="86"/>
                  <a:pt x="75" y="87"/>
                  <a:pt x="80" y="88"/>
                </a:cubicBezTo>
                <a:cubicBezTo>
                  <a:pt x="85" y="56"/>
                  <a:pt x="111" y="35"/>
                  <a:pt x="143" y="35"/>
                </a:cubicBezTo>
                <a:cubicBezTo>
                  <a:pt x="158" y="35"/>
                  <a:pt x="171" y="39"/>
                  <a:pt x="182" y="48"/>
                </a:cubicBezTo>
                <a:cubicBezTo>
                  <a:pt x="190" y="20"/>
                  <a:pt x="215" y="0"/>
                  <a:pt x="244" y="0"/>
                </a:cubicBezTo>
                <a:cubicBezTo>
                  <a:pt x="279" y="0"/>
                  <a:pt x="306" y="30"/>
                  <a:pt x="306" y="66"/>
                </a:cubicBezTo>
                <a:cubicBezTo>
                  <a:pt x="306" y="73"/>
                  <a:pt x="306" y="80"/>
                  <a:pt x="304" y="86"/>
                </a:cubicBezTo>
                <a:cubicBezTo>
                  <a:pt x="338" y="88"/>
                  <a:pt x="365" y="117"/>
                  <a:pt x="365" y="151"/>
                </a:cubicBezTo>
                <a:cubicBezTo>
                  <a:pt x="365" y="187"/>
                  <a:pt x="335" y="216"/>
                  <a:pt x="300" y="216"/>
                </a:cubicBezTo>
                <a:close/>
              </a:path>
            </a:pathLst>
          </a:custGeom>
          <a:solidFill>
            <a:srgbClr val="4D9DD7"/>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24" name="Freeform 11">
            <a:extLst>
              <a:ext uri="{FF2B5EF4-FFF2-40B4-BE49-F238E27FC236}">
                <a16:creationId xmlns:a16="http://schemas.microsoft.com/office/drawing/2014/main" id="{9D620919-3A24-4288-8C5D-DE362F39D75D}"/>
              </a:ext>
            </a:extLst>
          </p:cNvPr>
          <p:cNvSpPr>
            <a:spLocks/>
          </p:cNvSpPr>
          <p:nvPr/>
        </p:nvSpPr>
        <p:spPr bwMode="auto">
          <a:xfrm>
            <a:off x="8847261" y="5662680"/>
            <a:ext cx="1172150" cy="706908"/>
          </a:xfrm>
          <a:custGeom>
            <a:avLst/>
            <a:gdLst>
              <a:gd name="T0" fmla="*/ 261 w 339"/>
              <a:gd name="T1" fmla="*/ 46 h 204"/>
              <a:gd name="T2" fmla="*/ 237 w 339"/>
              <a:gd name="T3" fmla="*/ 50 h 204"/>
              <a:gd name="T4" fmla="*/ 159 w 339"/>
              <a:gd name="T5" fmla="*/ 0 h 204"/>
              <a:gd name="T6" fmla="*/ 77 w 339"/>
              <a:gd name="T7" fmla="*/ 61 h 204"/>
              <a:gd name="T8" fmla="*/ 72 w 339"/>
              <a:gd name="T9" fmla="*/ 60 h 204"/>
              <a:gd name="T10" fmla="*/ 0 w 339"/>
              <a:gd name="T11" fmla="*/ 132 h 204"/>
              <a:gd name="T12" fmla="*/ 61 w 339"/>
              <a:gd name="T13" fmla="*/ 203 h 204"/>
              <a:gd name="T14" fmla="*/ 61 w 339"/>
              <a:gd name="T15" fmla="*/ 203 h 204"/>
              <a:gd name="T16" fmla="*/ 72 w 339"/>
              <a:gd name="T17" fmla="*/ 204 h 204"/>
              <a:gd name="T18" fmla="*/ 72 w 339"/>
              <a:gd name="T19" fmla="*/ 204 h 204"/>
              <a:gd name="T20" fmla="*/ 72 w 339"/>
              <a:gd name="T21" fmla="*/ 204 h 204"/>
              <a:gd name="T22" fmla="*/ 261 w 339"/>
              <a:gd name="T23" fmla="*/ 204 h 204"/>
              <a:gd name="T24" fmla="*/ 261 w 339"/>
              <a:gd name="T25" fmla="*/ 204 h 204"/>
              <a:gd name="T26" fmla="*/ 339 w 339"/>
              <a:gd name="T27" fmla="*/ 125 h 204"/>
              <a:gd name="T28" fmla="*/ 261 w 339"/>
              <a:gd name="T29" fmla="*/ 4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9" h="204">
                <a:moveTo>
                  <a:pt x="261" y="46"/>
                </a:moveTo>
                <a:cubicBezTo>
                  <a:pt x="252" y="46"/>
                  <a:pt x="245" y="47"/>
                  <a:pt x="237" y="50"/>
                </a:cubicBezTo>
                <a:cubicBezTo>
                  <a:pt x="223" y="20"/>
                  <a:pt x="194" y="0"/>
                  <a:pt x="159" y="0"/>
                </a:cubicBezTo>
                <a:cubicBezTo>
                  <a:pt x="121" y="0"/>
                  <a:pt x="88" y="26"/>
                  <a:pt x="77" y="61"/>
                </a:cubicBezTo>
                <a:cubicBezTo>
                  <a:pt x="75" y="60"/>
                  <a:pt x="74" y="60"/>
                  <a:pt x="72" y="60"/>
                </a:cubicBezTo>
                <a:cubicBezTo>
                  <a:pt x="32" y="60"/>
                  <a:pt x="0" y="92"/>
                  <a:pt x="0" y="132"/>
                </a:cubicBezTo>
                <a:cubicBezTo>
                  <a:pt x="0" y="168"/>
                  <a:pt x="27" y="197"/>
                  <a:pt x="61" y="203"/>
                </a:cubicBezTo>
                <a:cubicBezTo>
                  <a:pt x="61" y="203"/>
                  <a:pt x="61" y="203"/>
                  <a:pt x="61" y="203"/>
                </a:cubicBezTo>
                <a:cubicBezTo>
                  <a:pt x="65" y="203"/>
                  <a:pt x="68" y="204"/>
                  <a:pt x="72" y="204"/>
                </a:cubicBezTo>
                <a:cubicBezTo>
                  <a:pt x="72" y="204"/>
                  <a:pt x="72" y="204"/>
                  <a:pt x="72" y="204"/>
                </a:cubicBezTo>
                <a:cubicBezTo>
                  <a:pt x="72" y="204"/>
                  <a:pt x="72" y="204"/>
                  <a:pt x="72" y="204"/>
                </a:cubicBezTo>
                <a:cubicBezTo>
                  <a:pt x="261" y="204"/>
                  <a:pt x="261" y="204"/>
                  <a:pt x="261" y="204"/>
                </a:cubicBezTo>
                <a:cubicBezTo>
                  <a:pt x="261" y="204"/>
                  <a:pt x="261" y="204"/>
                  <a:pt x="261" y="204"/>
                </a:cubicBezTo>
                <a:cubicBezTo>
                  <a:pt x="304" y="203"/>
                  <a:pt x="339" y="168"/>
                  <a:pt x="339" y="125"/>
                </a:cubicBezTo>
                <a:cubicBezTo>
                  <a:pt x="339" y="81"/>
                  <a:pt x="304" y="46"/>
                  <a:pt x="261" y="46"/>
                </a:cubicBezTo>
                <a:close/>
              </a:path>
            </a:pathLst>
          </a:custGeom>
          <a:solidFill>
            <a:srgbClr val="4D9DD7"/>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25" name="Freeform 12">
            <a:extLst>
              <a:ext uri="{FF2B5EF4-FFF2-40B4-BE49-F238E27FC236}">
                <a16:creationId xmlns:a16="http://schemas.microsoft.com/office/drawing/2014/main" id="{CA576A86-E99F-4C64-8179-868DF8008092}"/>
              </a:ext>
            </a:extLst>
          </p:cNvPr>
          <p:cNvSpPr>
            <a:spLocks/>
          </p:cNvSpPr>
          <p:nvPr/>
        </p:nvSpPr>
        <p:spPr bwMode="auto">
          <a:xfrm>
            <a:off x="9911201" y="2773051"/>
            <a:ext cx="753729" cy="496597"/>
          </a:xfrm>
          <a:custGeom>
            <a:avLst/>
            <a:gdLst>
              <a:gd name="T0" fmla="*/ 241 w 287"/>
              <a:gd name="T1" fmla="*/ 82 h 189"/>
              <a:gd name="T2" fmla="*/ 241 w 287"/>
              <a:gd name="T3" fmla="*/ 79 h 189"/>
              <a:gd name="T4" fmla="*/ 162 w 287"/>
              <a:gd name="T5" fmla="*/ 0 h 189"/>
              <a:gd name="T6" fmla="*/ 96 w 287"/>
              <a:gd name="T7" fmla="*/ 35 h 189"/>
              <a:gd name="T8" fmla="*/ 74 w 287"/>
              <a:gd name="T9" fmla="*/ 29 h 189"/>
              <a:gd name="T10" fmla="*/ 28 w 287"/>
              <a:gd name="T11" fmla="*/ 74 h 189"/>
              <a:gd name="T12" fmla="*/ 0 w 287"/>
              <a:gd name="T13" fmla="*/ 126 h 189"/>
              <a:gd name="T14" fmla="*/ 55 w 287"/>
              <a:gd name="T15" fmla="*/ 188 h 189"/>
              <a:gd name="T16" fmla="*/ 55 w 287"/>
              <a:gd name="T17" fmla="*/ 188 h 189"/>
              <a:gd name="T18" fmla="*/ 55 w 287"/>
              <a:gd name="T19" fmla="*/ 188 h 189"/>
              <a:gd name="T20" fmla="*/ 62 w 287"/>
              <a:gd name="T21" fmla="*/ 189 h 189"/>
              <a:gd name="T22" fmla="*/ 69 w 287"/>
              <a:gd name="T23" fmla="*/ 188 h 189"/>
              <a:gd name="T24" fmla="*/ 198 w 287"/>
              <a:gd name="T25" fmla="*/ 188 h 189"/>
              <a:gd name="T26" fmla="*/ 204 w 287"/>
              <a:gd name="T27" fmla="*/ 188 h 189"/>
              <a:gd name="T28" fmla="*/ 213 w 287"/>
              <a:gd name="T29" fmla="*/ 188 h 189"/>
              <a:gd name="T30" fmla="*/ 234 w 287"/>
              <a:gd name="T31" fmla="*/ 188 h 189"/>
              <a:gd name="T32" fmla="*/ 234 w 287"/>
              <a:gd name="T33" fmla="*/ 188 h 189"/>
              <a:gd name="T34" fmla="*/ 287 w 287"/>
              <a:gd name="T35" fmla="*/ 135 h 189"/>
              <a:gd name="T36" fmla="*/ 241 w 287"/>
              <a:gd name="T37" fmla="*/ 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7" h="189">
                <a:moveTo>
                  <a:pt x="241" y="82"/>
                </a:moveTo>
                <a:cubicBezTo>
                  <a:pt x="241" y="81"/>
                  <a:pt x="241" y="80"/>
                  <a:pt x="241" y="79"/>
                </a:cubicBezTo>
                <a:cubicBezTo>
                  <a:pt x="241" y="35"/>
                  <a:pt x="205" y="0"/>
                  <a:pt x="162" y="0"/>
                </a:cubicBezTo>
                <a:cubicBezTo>
                  <a:pt x="134" y="0"/>
                  <a:pt x="110" y="14"/>
                  <a:pt x="96" y="35"/>
                </a:cubicBezTo>
                <a:cubicBezTo>
                  <a:pt x="89" y="31"/>
                  <a:pt x="82" y="29"/>
                  <a:pt x="74" y="29"/>
                </a:cubicBezTo>
                <a:cubicBezTo>
                  <a:pt x="49" y="29"/>
                  <a:pt x="29" y="49"/>
                  <a:pt x="28" y="74"/>
                </a:cubicBezTo>
                <a:cubicBezTo>
                  <a:pt x="11" y="85"/>
                  <a:pt x="0" y="104"/>
                  <a:pt x="0" y="126"/>
                </a:cubicBezTo>
                <a:cubicBezTo>
                  <a:pt x="0" y="158"/>
                  <a:pt x="24" y="185"/>
                  <a:pt x="55" y="188"/>
                </a:cubicBezTo>
                <a:cubicBezTo>
                  <a:pt x="55" y="188"/>
                  <a:pt x="55" y="188"/>
                  <a:pt x="55" y="188"/>
                </a:cubicBezTo>
                <a:cubicBezTo>
                  <a:pt x="55" y="188"/>
                  <a:pt x="55" y="188"/>
                  <a:pt x="55" y="188"/>
                </a:cubicBezTo>
                <a:cubicBezTo>
                  <a:pt x="57" y="189"/>
                  <a:pt x="60" y="189"/>
                  <a:pt x="62" y="189"/>
                </a:cubicBezTo>
                <a:cubicBezTo>
                  <a:pt x="64" y="189"/>
                  <a:pt x="66" y="189"/>
                  <a:pt x="69" y="188"/>
                </a:cubicBezTo>
                <a:cubicBezTo>
                  <a:pt x="97" y="188"/>
                  <a:pt x="165" y="189"/>
                  <a:pt x="198" y="188"/>
                </a:cubicBezTo>
                <a:cubicBezTo>
                  <a:pt x="204" y="188"/>
                  <a:pt x="204" y="188"/>
                  <a:pt x="204" y="188"/>
                </a:cubicBezTo>
                <a:cubicBezTo>
                  <a:pt x="205" y="189"/>
                  <a:pt x="210" y="189"/>
                  <a:pt x="213" y="188"/>
                </a:cubicBezTo>
                <a:cubicBezTo>
                  <a:pt x="234" y="188"/>
                  <a:pt x="234" y="188"/>
                  <a:pt x="234" y="188"/>
                </a:cubicBezTo>
                <a:cubicBezTo>
                  <a:pt x="234" y="188"/>
                  <a:pt x="234" y="188"/>
                  <a:pt x="234" y="188"/>
                </a:cubicBezTo>
                <a:cubicBezTo>
                  <a:pt x="263" y="188"/>
                  <a:pt x="287" y="164"/>
                  <a:pt x="287" y="135"/>
                </a:cubicBezTo>
                <a:cubicBezTo>
                  <a:pt x="287" y="108"/>
                  <a:pt x="267" y="86"/>
                  <a:pt x="241" y="82"/>
                </a:cubicBezTo>
                <a:close/>
              </a:path>
            </a:pathLst>
          </a:custGeom>
          <a:solidFill>
            <a:srgbClr val="4D9DD7"/>
          </a:solidFill>
          <a:ln>
            <a:noFill/>
          </a:ln>
        </p:spPr>
        <p:txBody>
          <a:bodyPr vert="horz" wrap="square" lIns="89642" tIns="44821" rIns="89642" bIns="44821" numCol="1" anchor="t" anchorCtr="0" compatLnSpc="1">
            <a:prstTxWarp prst="textNoShape">
              <a:avLst/>
            </a:prstTxWarp>
          </a:bodyPr>
          <a:lstStyle/>
          <a:p>
            <a:endParaRPr lang="en-US" sz="1765" dirty="0"/>
          </a:p>
        </p:txBody>
      </p:sp>
      <p:grpSp>
        <p:nvGrpSpPr>
          <p:cNvPr id="71" name="Group 70">
            <a:extLst>
              <a:ext uri="{FF2B5EF4-FFF2-40B4-BE49-F238E27FC236}">
                <a16:creationId xmlns:a16="http://schemas.microsoft.com/office/drawing/2014/main" id="{02737F4A-F97A-4D64-8187-266EF6B5E62D}"/>
              </a:ext>
            </a:extLst>
          </p:cNvPr>
          <p:cNvGrpSpPr/>
          <p:nvPr/>
        </p:nvGrpSpPr>
        <p:grpSpPr>
          <a:xfrm>
            <a:off x="8490489" y="2775094"/>
            <a:ext cx="625630" cy="625630"/>
            <a:chOff x="8508015" y="2830243"/>
            <a:chExt cx="638175" cy="638175"/>
          </a:xfrm>
        </p:grpSpPr>
        <p:sp>
          <p:nvSpPr>
            <p:cNvPr id="53" name="Oval 52">
              <a:extLst>
                <a:ext uri="{FF2B5EF4-FFF2-40B4-BE49-F238E27FC236}">
                  <a16:creationId xmlns:a16="http://schemas.microsoft.com/office/drawing/2014/main" id="{8798279B-F915-4210-BAB7-7B8EEEF82A6E}"/>
                </a:ext>
              </a:extLst>
            </p:cNvPr>
            <p:cNvSpPr/>
            <p:nvPr/>
          </p:nvSpPr>
          <p:spPr bwMode="auto">
            <a:xfrm>
              <a:off x="8508015" y="2830243"/>
              <a:ext cx="638175" cy="638175"/>
            </a:xfrm>
            <a:prstGeom prst="ellipse">
              <a:avLst/>
            </a:prstGeom>
            <a:solidFill>
              <a:schemeClr val="accent1"/>
            </a:solidFill>
            <a:ln w="19050" cap="rnd">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70" name="Group 69">
              <a:extLst>
                <a:ext uri="{FF2B5EF4-FFF2-40B4-BE49-F238E27FC236}">
                  <a16:creationId xmlns:a16="http://schemas.microsoft.com/office/drawing/2014/main" id="{34807821-702B-4CDF-BA5F-050128209C43}"/>
                </a:ext>
              </a:extLst>
            </p:cNvPr>
            <p:cNvGrpSpPr/>
            <p:nvPr/>
          </p:nvGrpSpPr>
          <p:grpSpPr>
            <a:xfrm>
              <a:off x="8658632" y="3090731"/>
              <a:ext cx="336940" cy="117197"/>
              <a:chOff x="7789863" y="449263"/>
              <a:chExt cx="584200" cy="203200"/>
            </a:xfrm>
            <a:solidFill>
              <a:schemeClr val="bg1"/>
            </a:solidFill>
          </p:grpSpPr>
          <p:sp>
            <p:nvSpPr>
              <p:cNvPr id="59" name="Freeform 16">
                <a:extLst>
                  <a:ext uri="{FF2B5EF4-FFF2-40B4-BE49-F238E27FC236}">
                    <a16:creationId xmlns:a16="http://schemas.microsoft.com/office/drawing/2014/main" id="{A7D270CB-DFA7-4A3A-8A78-27EDB7632CEF}"/>
                  </a:ext>
                </a:extLst>
              </p:cNvPr>
              <p:cNvSpPr>
                <a:spLocks noEditPoints="1"/>
              </p:cNvSpPr>
              <p:nvPr/>
            </p:nvSpPr>
            <p:spPr bwMode="auto">
              <a:xfrm>
                <a:off x="7794625" y="449263"/>
                <a:ext cx="576263" cy="198438"/>
              </a:xfrm>
              <a:custGeom>
                <a:avLst/>
                <a:gdLst>
                  <a:gd name="T0" fmla="*/ 118 w 133"/>
                  <a:gd name="T1" fmla="*/ 44 h 44"/>
                  <a:gd name="T2" fmla="*/ 15 w 133"/>
                  <a:gd name="T3" fmla="*/ 44 h 44"/>
                  <a:gd name="T4" fmla="*/ 0 w 133"/>
                  <a:gd name="T5" fmla="*/ 29 h 44"/>
                  <a:gd name="T6" fmla="*/ 0 w 133"/>
                  <a:gd name="T7" fmla="*/ 16 h 44"/>
                  <a:gd name="T8" fmla="*/ 15 w 133"/>
                  <a:gd name="T9" fmla="*/ 0 h 44"/>
                  <a:gd name="T10" fmla="*/ 119 w 133"/>
                  <a:gd name="T11" fmla="*/ 0 h 44"/>
                  <a:gd name="T12" fmla="*/ 133 w 133"/>
                  <a:gd name="T13" fmla="*/ 15 h 44"/>
                  <a:gd name="T14" fmla="*/ 133 w 133"/>
                  <a:gd name="T15" fmla="*/ 29 h 44"/>
                  <a:gd name="T16" fmla="*/ 118 w 133"/>
                  <a:gd name="T17" fmla="*/ 44 h 44"/>
                  <a:gd name="T18" fmla="*/ 15 w 133"/>
                  <a:gd name="T19" fmla="*/ 5 h 44"/>
                  <a:gd name="T20" fmla="*/ 4 w 133"/>
                  <a:gd name="T21" fmla="*/ 16 h 44"/>
                  <a:gd name="T22" fmla="*/ 4 w 133"/>
                  <a:gd name="T23" fmla="*/ 29 h 44"/>
                  <a:gd name="T24" fmla="*/ 15 w 133"/>
                  <a:gd name="T25" fmla="*/ 40 h 44"/>
                  <a:gd name="T26" fmla="*/ 118 w 133"/>
                  <a:gd name="T27" fmla="*/ 40 h 44"/>
                  <a:gd name="T28" fmla="*/ 129 w 133"/>
                  <a:gd name="T29" fmla="*/ 29 h 44"/>
                  <a:gd name="T30" fmla="*/ 129 w 133"/>
                  <a:gd name="T31" fmla="*/ 17 h 44"/>
                  <a:gd name="T32" fmla="*/ 117 w 133"/>
                  <a:gd name="T33" fmla="*/ 5 h 44"/>
                  <a:gd name="T34" fmla="*/ 15 w 133"/>
                  <a:gd name="T35"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44">
                    <a:moveTo>
                      <a:pt x="118" y="44"/>
                    </a:moveTo>
                    <a:cubicBezTo>
                      <a:pt x="15" y="44"/>
                      <a:pt x="15" y="44"/>
                      <a:pt x="15" y="44"/>
                    </a:cubicBezTo>
                    <a:cubicBezTo>
                      <a:pt x="7" y="44"/>
                      <a:pt x="0" y="37"/>
                      <a:pt x="0" y="29"/>
                    </a:cubicBezTo>
                    <a:cubicBezTo>
                      <a:pt x="0" y="16"/>
                      <a:pt x="0" y="16"/>
                      <a:pt x="0" y="16"/>
                    </a:cubicBezTo>
                    <a:cubicBezTo>
                      <a:pt x="0" y="7"/>
                      <a:pt x="7" y="0"/>
                      <a:pt x="15" y="0"/>
                    </a:cubicBezTo>
                    <a:cubicBezTo>
                      <a:pt x="119" y="0"/>
                      <a:pt x="119" y="0"/>
                      <a:pt x="119" y="0"/>
                    </a:cubicBezTo>
                    <a:cubicBezTo>
                      <a:pt x="133" y="15"/>
                      <a:pt x="133" y="15"/>
                      <a:pt x="133" y="15"/>
                    </a:cubicBezTo>
                    <a:cubicBezTo>
                      <a:pt x="133" y="29"/>
                      <a:pt x="133" y="29"/>
                      <a:pt x="133" y="29"/>
                    </a:cubicBezTo>
                    <a:cubicBezTo>
                      <a:pt x="133" y="37"/>
                      <a:pt x="127" y="44"/>
                      <a:pt x="118" y="44"/>
                    </a:cubicBezTo>
                    <a:close/>
                    <a:moveTo>
                      <a:pt x="15" y="5"/>
                    </a:moveTo>
                    <a:cubicBezTo>
                      <a:pt x="9" y="5"/>
                      <a:pt x="4" y="10"/>
                      <a:pt x="4" y="16"/>
                    </a:cubicBezTo>
                    <a:cubicBezTo>
                      <a:pt x="4" y="29"/>
                      <a:pt x="4" y="29"/>
                      <a:pt x="4" y="29"/>
                    </a:cubicBezTo>
                    <a:cubicBezTo>
                      <a:pt x="4" y="35"/>
                      <a:pt x="9" y="40"/>
                      <a:pt x="15" y="40"/>
                    </a:cubicBezTo>
                    <a:cubicBezTo>
                      <a:pt x="118" y="40"/>
                      <a:pt x="118" y="40"/>
                      <a:pt x="118" y="40"/>
                    </a:cubicBezTo>
                    <a:cubicBezTo>
                      <a:pt x="124" y="40"/>
                      <a:pt x="129" y="35"/>
                      <a:pt x="129" y="29"/>
                    </a:cubicBezTo>
                    <a:cubicBezTo>
                      <a:pt x="129" y="17"/>
                      <a:pt x="129" y="17"/>
                      <a:pt x="129" y="17"/>
                    </a:cubicBezTo>
                    <a:cubicBezTo>
                      <a:pt x="117" y="5"/>
                      <a:pt x="117" y="5"/>
                      <a:pt x="117" y="5"/>
                    </a:cubicBezTo>
                    <a:lnTo>
                      <a:pt x="1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0" name="Freeform 17">
                <a:extLst>
                  <a:ext uri="{FF2B5EF4-FFF2-40B4-BE49-F238E27FC236}">
                    <a16:creationId xmlns:a16="http://schemas.microsoft.com/office/drawing/2014/main" id="{0F32A53E-96E9-4052-9E4A-9BD7DDBC5518}"/>
                  </a:ext>
                </a:extLst>
              </p:cNvPr>
              <p:cNvSpPr>
                <a:spLocks noEditPoints="1"/>
              </p:cNvSpPr>
              <p:nvPr/>
            </p:nvSpPr>
            <p:spPr bwMode="auto">
              <a:xfrm>
                <a:off x="7789863" y="449263"/>
                <a:ext cx="584200" cy="203200"/>
              </a:xfrm>
              <a:custGeom>
                <a:avLst/>
                <a:gdLst>
                  <a:gd name="T0" fmla="*/ 119 w 135"/>
                  <a:gd name="T1" fmla="*/ 45 h 45"/>
                  <a:gd name="T2" fmla="*/ 16 w 135"/>
                  <a:gd name="T3" fmla="*/ 45 h 45"/>
                  <a:gd name="T4" fmla="*/ 0 w 135"/>
                  <a:gd name="T5" fmla="*/ 29 h 45"/>
                  <a:gd name="T6" fmla="*/ 0 w 135"/>
                  <a:gd name="T7" fmla="*/ 16 h 45"/>
                  <a:gd name="T8" fmla="*/ 16 w 135"/>
                  <a:gd name="T9" fmla="*/ 0 h 45"/>
                  <a:gd name="T10" fmla="*/ 120 w 135"/>
                  <a:gd name="T11" fmla="*/ 0 h 45"/>
                  <a:gd name="T12" fmla="*/ 135 w 135"/>
                  <a:gd name="T13" fmla="*/ 15 h 45"/>
                  <a:gd name="T14" fmla="*/ 135 w 135"/>
                  <a:gd name="T15" fmla="*/ 29 h 45"/>
                  <a:gd name="T16" fmla="*/ 119 w 135"/>
                  <a:gd name="T17" fmla="*/ 45 h 45"/>
                  <a:gd name="T18" fmla="*/ 16 w 135"/>
                  <a:gd name="T19" fmla="*/ 1 h 45"/>
                  <a:gd name="T20" fmla="*/ 2 w 135"/>
                  <a:gd name="T21" fmla="*/ 16 h 45"/>
                  <a:gd name="T22" fmla="*/ 2 w 135"/>
                  <a:gd name="T23" fmla="*/ 29 h 45"/>
                  <a:gd name="T24" fmla="*/ 16 w 135"/>
                  <a:gd name="T25" fmla="*/ 43 h 45"/>
                  <a:gd name="T26" fmla="*/ 119 w 135"/>
                  <a:gd name="T27" fmla="*/ 43 h 45"/>
                  <a:gd name="T28" fmla="*/ 134 w 135"/>
                  <a:gd name="T29" fmla="*/ 29 h 45"/>
                  <a:gd name="T30" fmla="*/ 134 w 135"/>
                  <a:gd name="T31" fmla="*/ 15 h 45"/>
                  <a:gd name="T32" fmla="*/ 120 w 135"/>
                  <a:gd name="T33" fmla="*/ 1 h 45"/>
                  <a:gd name="T34" fmla="*/ 16 w 135"/>
                  <a:gd name="T35" fmla="*/ 1 h 45"/>
                  <a:gd name="T36" fmla="*/ 119 w 135"/>
                  <a:gd name="T37" fmla="*/ 41 h 45"/>
                  <a:gd name="T38" fmla="*/ 16 w 135"/>
                  <a:gd name="T39" fmla="*/ 41 h 45"/>
                  <a:gd name="T40" fmla="*/ 4 w 135"/>
                  <a:gd name="T41" fmla="*/ 29 h 45"/>
                  <a:gd name="T42" fmla="*/ 4 w 135"/>
                  <a:gd name="T43" fmla="*/ 16 h 45"/>
                  <a:gd name="T44" fmla="*/ 16 w 135"/>
                  <a:gd name="T45" fmla="*/ 4 h 45"/>
                  <a:gd name="T46" fmla="*/ 119 w 135"/>
                  <a:gd name="T47" fmla="*/ 4 h 45"/>
                  <a:gd name="T48" fmla="*/ 131 w 135"/>
                  <a:gd name="T49" fmla="*/ 16 h 45"/>
                  <a:gd name="T50" fmla="*/ 131 w 135"/>
                  <a:gd name="T51" fmla="*/ 29 h 45"/>
                  <a:gd name="T52" fmla="*/ 119 w 135"/>
                  <a:gd name="T53" fmla="*/ 41 h 45"/>
                  <a:gd name="T54" fmla="*/ 16 w 135"/>
                  <a:gd name="T55" fmla="*/ 6 h 45"/>
                  <a:gd name="T56" fmla="*/ 6 w 135"/>
                  <a:gd name="T57" fmla="*/ 16 h 45"/>
                  <a:gd name="T58" fmla="*/ 6 w 135"/>
                  <a:gd name="T59" fmla="*/ 29 h 45"/>
                  <a:gd name="T60" fmla="*/ 16 w 135"/>
                  <a:gd name="T61" fmla="*/ 39 h 45"/>
                  <a:gd name="T62" fmla="*/ 119 w 135"/>
                  <a:gd name="T63" fmla="*/ 39 h 45"/>
                  <a:gd name="T64" fmla="*/ 129 w 135"/>
                  <a:gd name="T65" fmla="*/ 29 h 45"/>
                  <a:gd name="T66" fmla="*/ 129 w 135"/>
                  <a:gd name="T67" fmla="*/ 17 h 45"/>
                  <a:gd name="T68" fmla="*/ 118 w 135"/>
                  <a:gd name="T69" fmla="*/ 6 h 45"/>
                  <a:gd name="T70" fmla="*/ 16 w 135"/>
                  <a:gd name="T71"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45">
                    <a:moveTo>
                      <a:pt x="119" y="45"/>
                    </a:moveTo>
                    <a:cubicBezTo>
                      <a:pt x="16" y="45"/>
                      <a:pt x="16" y="45"/>
                      <a:pt x="16" y="45"/>
                    </a:cubicBezTo>
                    <a:cubicBezTo>
                      <a:pt x="7" y="45"/>
                      <a:pt x="0" y="38"/>
                      <a:pt x="0" y="29"/>
                    </a:cubicBezTo>
                    <a:cubicBezTo>
                      <a:pt x="0" y="16"/>
                      <a:pt x="0" y="16"/>
                      <a:pt x="0" y="16"/>
                    </a:cubicBezTo>
                    <a:cubicBezTo>
                      <a:pt x="0" y="7"/>
                      <a:pt x="7" y="0"/>
                      <a:pt x="16" y="0"/>
                    </a:cubicBezTo>
                    <a:cubicBezTo>
                      <a:pt x="120" y="0"/>
                      <a:pt x="120" y="0"/>
                      <a:pt x="120" y="0"/>
                    </a:cubicBezTo>
                    <a:cubicBezTo>
                      <a:pt x="135" y="15"/>
                      <a:pt x="135" y="15"/>
                      <a:pt x="135" y="15"/>
                    </a:cubicBezTo>
                    <a:cubicBezTo>
                      <a:pt x="135" y="29"/>
                      <a:pt x="135" y="29"/>
                      <a:pt x="135" y="29"/>
                    </a:cubicBezTo>
                    <a:cubicBezTo>
                      <a:pt x="135" y="38"/>
                      <a:pt x="128" y="45"/>
                      <a:pt x="119" y="45"/>
                    </a:cubicBezTo>
                    <a:close/>
                    <a:moveTo>
                      <a:pt x="16" y="1"/>
                    </a:moveTo>
                    <a:cubicBezTo>
                      <a:pt x="8" y="1"/>
                      <a:pt x="2" y="8"/>
                      <a:pt x="2" y="16"/>
                    </a:cubicBezTo>
                    <a:cubicBezTo>
                      <a:pt x="2" y="29"/>
                      <a:pt x="2" y="29"/>
                      <a:pt x="2" y="29"/>
                    </a:cubicBezTo>
                    <a:cubicBezTo>
                      <a:pt x="2" y="37"/>
                      <a:pt x="8" y="43"/>
                      <a:pt x="16" y="43"/>
                    </a:cubicBezTo>
                    <a:cubicBezTo>
                      <a:pt x="119" y="43"/>
                      <a:pt x="119" y="43"/>
                      <a:pt x="119" y="43"/>
                    </a:cubicBezTo>
                    <a:cubicBezTo>
                      <a:pt x="127" y="43"/>
                      <a:pt x="134" y="37"/>
                      <a:pt x="134" y="29"/>
                    </a:cubicBezTo>
                    <a:cubicBezTo>
                      <a:pt x="134" y="15"/>
                      <a:pt x="134" y="15"/>
                      <a:pt x="134" y="15"/>
                    </a:cubicBezTo>
                    <a:cubicBezTo>
                      <a:pt x="120" y="1"/>
                      <a:pt x="120" y="1"/>
                      <a:pt x="120" y="1"/>
                    </a:cubicBezTo>
                    <a:lnTo>
                      <a:pt x="16" y="1"/>
                    </a:lnTo>
                    <a:close/>
                    <a:moveTo>
                      <a:pt x="119" y="41"/>
                    </a:moveTo>
                    <a:cubicBezTo>
                      <a:pt x="16" y="41"/>
                      <a:pt x="16" y="41"/>
                      <a:pt x="16" y="41"/>
                    </a:cubicBezTo>
                    <a:cubicBezTo>
                      <a:pt x="10" y="41"/>
                      <a:pt x="4" y="35"/>
                      <a:pt x="4" y="29"/>
                    </a:cubicBezTo>
                    <a:cubicBezTo>
                      <a:pt x="4" y="16"/>
                      <a:pt x="4" y="16"/>
                      <a:pt x="4" y="16"/>
                    </a:cubicBezTo>
                    <a:cubicBezTo>
                      <a:pt x="4" y="9"/>
                      <a:pt x="10" y="4"/>
                      <a:pt x="16" y="4"/>
                    </a:cubicBezTo>
                    <a:cubicBezTo>
                      <a:pt x="119" y="4"/>
                      <a:pt x="119" y="4"/>
                      <a:pt x="119" y="4"/>
                    </a:cubicBezTo>
                    <a:cubicBezTo>
                      <a:pt x="131" y="16"/>
                      <a:pt x="131" y="16"/>
                      <a:pt x="131" y="16"/>
                    </a:cubicBezTo>
                    <a:cubicBezTo>
                      <a:pt x="131" y="29"/>
                      <a:pt x="131" y="29"/>
                      <a:pt x="131" y="29"/>
                    </a:cubicBezTo>
                    <a:cubicBezTo>
                      <a:pt x="131" y="35"/>
                      <a:pt x="126" y="41"/>
                      <a:pt x="119" y="41"/>
                    </a:cubicBezTo>
                    <a:close/>
                    <a:moveTo>
                      <a:pt x="16" y="6"/>
                    </a:moveTo>
                    <a:cubicBezTo>
                      <a:pt x="11" y="6"/>
                      <a:pt x="6" y="10"/>
                      <a:pt x="6" y="16"/>
                    </a:cubicBezTo>
                    <a:cubicBezTo>
                      <a:pt x="6" y="29"/>
                      <a:pt x="6" y="29"/>
                      <a:pt x="6" y="29"/>
                    </a:cubicBezTo>
                    <a:cubicBezTo>
                      <a:pt x="6" y="34"/>
                      <a:pt x="11" y="39"/>
                      <a:pt x="16" y="39"/>
                    </a:cubicBezTo>
                    <a:cubicBezTo>
                      <a:pt x="119" y="39"/>
                      <a:pt x="119" y="39"/>
                      <a:pt x="119" y="39"/>
                    </a:cubicBezTo>
                    <a:cubicBezTo>
                      <a:pt x="125" y="39"/>
                      <a:pt x="129" y="34"/>
                      <a:pt x="129" y="29"/>
                    </a:cubicBezTo>
                    <a:cubicBezTo>
                      <a:pt x="129" y="17"/>
                      <a:pt x="129" y="17"/>
                      <a:pt x="129" y="17"/>
                    </a:cubicBezTo>
                    <a:cubicBezTo>
                      <a:pt x="118" y="6"/>
                      <a:pt x="118" y="6"/>
                      <a:pt x="118" y="6"/>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1" name="Freeform 18">
                <a:extLst>
                  <a:ext uri="{FF2B5EF4-FFF2-40B4-BE49-F238E27FC236}">
                    <a16:creationId xmlns:a16="http://schemas.microsoft.com/office/drawing/2014/main" id="{F5ECE734-9962-4D25-8139-B6F33C5F1466}"/>
                  </a:ext>
                </a:extLst>
              </p:cNvPr>
              <p:cNvSpPr>
                <a:spLocks/>
              </p:cNvSpPr>
              <p:nvPr/>
            </p:nvSpPr>
            <p:spPr bwMode="auto">
              <a:xfrm>
                <a:off x="7954963" y="512763"/>
                <a:ext cx="47625" cy="36513"/>
              </a:xfrm>
              <a:custGeom>
                <a:avLst/>
                <a:gdLst>
                  <a:gd name="T0" fmla="*/ 13 w 30"/>
                  <a:gd name="T1" fmla="*/ 23 h 23"/>
                  <a:gd name="T2" fmla="*/ 30 w 30"/>
                  <a:gd name="T3" fmla="*/ 9 h 23"/>
                  <a:gd name="T4" fmla="*/ 19 w 30"/>
                  <a:gd name="T5" fmla="*/ 6 h 23"/>
                  <a:gd name="T6" fmla="*/ 11 w 30"/>
                  <a:gd name="T7" fmla="*/ 14 h 23"/>
                  <a:gd name="T8" fmla="*/ 11 w 30"/>
                  <a:gd name="T9" fmla="*/ 0 h 23"/>
                  <a:gd name="T10" fmla="*/ 0 w 30"/>
                  <a:gd name="T11" fmla="*/ 0 h 23"/>
                  <a:gd name="T12" fmla="*/ 0 w 30"/>
                  <a:gd name="T13" fmla="*/ 11 h 23"/>
                  <a:gd name="T14" fmla="*/ 13 w 30"/>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3">
                    <a:moveTo>
                      <a:pt x="13" y="23"/>
                    </a:moveTo>
                    <a:lnTo>
                      <a:pt x="30" y="9"/>
                    </a:lnTo>
                    <a:lnTo>
                      <a:pt x="19" y="6"/>
                    </a:lnTo>
                    <a:lnTo>
                      <a:pt x="11" y="14"/>
                    </a:lnTo>
                    <a:lnTo>
                      <a:pt x="11" y="0"/>
                    </a:lnTo>
                    <a:lnTo>
                      <a:pt x="0" y="0"/>
                    </a:lnTo>
                    <a:lnTo>
                      <a:pt x="0" y="11"/>
                    </a:lnTo>
                    <a:lnTo>
                      <a:pt x="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2" name="Freeform 19">
                <a:extLst>
                  <a:ext uri="{FF2B5EF4-FFF2-40B4-BE49-F238E27FC236}">
                    <a16:creationId xmlns:a16="http://schemas.microsoft.com/office/drawing/2014/main" id="{5099C149-E436-4F80-822B-01ED883EA580}"/>
                  </a:ext>
                </a:extLst>
              </p:cNvPr>
              <p:cNvSpPr>
                <a:spLocks/>
              </p:cNvSpPr>
              <p:nvPr/>
            </p:nvSpPr>
            <p:spPr bwMode="auto">
              <a:xfrm>
                <a:off x="7927975" y="554038"/>
                <a:ext cx="44450" cy="34925"/>
              </a:xfrm>
              <a:custGeom>
                <a:avLst/>
                <a:gdLst>
                  <a:gd name="T0" fmla="*/ 14 w 28"/>
                  <a:gd name="T1" fmla="*/ 0 h 22"/>
                  <a:gd name="T2" fmla="*/ 0 w 28"/>
                  <a:gd name="T3" fmla="*/ 14 h 22"/>
                  <a:gd name="T4" fmla="*/ 9 w 28"/>
                  <a:gd name="T5" fmla="*/ 17 h 22"/>
                  <a:gd name="T6" fmla="*/ 17 w 28"/>
                  <a:gd name="T7" fmla="*/ 8 h 22"/>
                  <a:gd name="T8" fmla="*/ 17 w 28"/>
                  <a:gd name="T9" fmla="*/ 22 h 22"/>
                  <a:gd name="T10" fmla="*/ 28 w 28"/>
                  <a:gd name="T11" fmla="*/ 22 h 22"/>
                  <a:gd name="T12" fmla="*/ 28 w 28"/>
                  <a:gd name="T13" fmla="*/ 11 h 22"/>
                  <a:gd name="T14" fmla="*/ 14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14" y="0"/>
                    </a:moveTo>
                    <a:lnTo>
                      <a:pt x="0" y="14"/>
                    </a:lnTo>
                    <a:lnTo>
                      <a:pt x="9" y="17"/>
                    </a:lnTo>
                    <a:lnTo>
                      <a:pt x="17" y="8"/>
                    </a:lnTo>
                    <a:lnTo>
                      <a:pt x="17" y="22"/>
                    </a:lnTo>
                    <a:lnTo>
                      <a:pt x="28" y="22"/>
                    </a:lnTo>
                    <a:lnTo>
                      <a:pt x="28" y="11"/>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3" name="Freeform 20">
                <a:extLst>
                  <a:ext uri="{FF2B5EF4-FFF2-40B4-BE49-F238E27FC236}">
                    <a16:creationId xmlns:a16="http://schemas.microsoft.com/office/drawing/2014/main" id="{71998070-3EEC-45DF-A2AD-623015E9DDC5}"/>
                  </a:ext>
                </a:extLst>
              </p:cNvPr>
              <p:cNvSpPr>
                <a:spLocks/>
              </p:cNvSpPr>
              <p:nvPr/>
            </p:nvSpPr>
            <p:spPr bwMode="auto">
              <a:xfrm>
                <a:off x="7927975" y="522288"/>
                <a:ext cx="74613" cy="58738"/>
              </a:xfrm>
              <a:custGeom>
                <a:avLst/>
                <a:gdLst>
                  <a:gd name="T0" fmla="*/ 28 w 47"/>
                  <a:gd name="T1" fmla="*/ 17 h 37"/>
                  <a:gd name="T2" fmla="*/ 20 w 47"/>
                  <a:gd name="T3" fmla="*/ 8 h 37"/>
                  <a:gd name="T4" fmla="*/ 9 w 47"/>
                  <a:gd name="T5" fmla="*/ 0 h 37"/>
                  <a:gd name="T6" fmla="*/ 0 w 47"/>
                  <a:gd name="T7" fmla="*/ 3 h 37"/>
                  <a:gd name="T8" fmla="*/ 17 w 47"/>
                  <a:gd name="T9" fmla="*/ 20 h 37"/>
                  <a:gd name="T10" fmla="*/ 22 w 47"/>
                  <a:gd name="T11" fmla="*/ 25 h 37"/>
                  <a:gd name="T12" fmla="*/ 36 w 47"/>
                  <a:gd name="T13" fmla="*/ 37 h 37"/>
                  <a:gd name="T14" fmla="*/ 47 w 47"/>
                  <a:gd name="T15" fmla="*/ 34 h 37"/>
                  <a:gd name="T16" fmla="*/ 28 w 47"/>
                  <a:gd name="T17"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7">
                    <a:moveTo>
                      <a:pt x="28" y="17"/>
                    </a:moveTo>
                    <a:lnTo>
                      <a:pt x="20" y="8"/>
                    </a:lnTo>
                    <a:lnTo>
                      <a:pt x="9" y="0"/>
                    </a:lnTo>
                    <a:lnTo>
                      <a:pt x="0" y="3"/>
                    </a:lnTo>
                    <a:lnTo>
                      <a:pt x="17" y="20"/>
                    </a:lnTo>
                    <a:lnTo>
                      <a:pt x="22" y="25"/>
                    </a:lnTo>
                    <a:lnTo>
                      <a:pt x="36" y="37"/>
                    </a:lnTo>
                    <a:lnTo>
                      <a:pt x="47" y="34"/>
                    </a:lnTo>
                    <a:lnTo>
                      <a:pt x="2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4" name="Freeform 21">
                <a:extLst>
                  <a:ext uri="{FF2B5EF4-FFF2-40B4-BE49-F238E27FC236}">
                    <a16:creationId xmlns:a16="http://schemas.microsoft.com/office/drawing/2014/main" id="{AAA71A02-1B1F-4E19-A1B4-69A6FF255562}"/>
                  </a:ext>
                </a:extLst>
              </p:cNvPr>
              <p:cNvSpPr>
                <a:spLocks/>
              </p:cNvSpPr>
              <p:nvPr/>
            </p:nvSpPr>
            <p:spPr bwMode="auto">
              <a:xfrm>
                <a:off x="8075613" y="512763"/>
                <a:ext cx="42863" cy="36513"/>
              </a:xfrm>
              <a:custGeom>
                <a:avLst/>
                <a:gdLst>
                  <a:gd name="T0" fmla="*/ 11 w 27"/>
                  <a:gd name="T1" fmla="*/ 23 h 23"/>
                  <a:gd name="T2" fmla="*/ 27 w 27"/>
                  <a:gd name="T3" fmla="*/ 9 h 23"/>
                  <a:gd name="T4" fmla="*/ 19 w 27"/>
                  <a:gd name="T5" fmla="*/ 6 h 23"/>
                  <a:gd name="T6" fmla="*/ 8 w 27"/>
                  <a:gd name="T7" fmla="*/ 14 h 23"/>
                  <a:gd name="T8" fmla="*/ 8 w 27"/>
                  <a:gd name="T9" fmla="*/ 0 h 23"/>
                  <a:gd name="T10" fmla="*/ 0 w 27"/>
                  <a:gd name="T11" fmla="*/ 0 h 23"/>
                  <a:gd name="T12" fmla="*/ 0 w 27"/>
                  <a:gd name="T13" fmla="*/ 11 h 23"/>
                  <a:gd name="T14" fmla="*/ 11 w 2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3">
                    <a:moveTo>
                      <a:pt x="11" y="23"/>
                    </a:moveTo>
                    <a:lnTo>
                      <a:pt x="27" y="9"/>
                    </a:lnTo>
                    <a:lnTo>
                      <a:pt x="19" y="6"/>
                    </a:lnTo>
                    <a:lnTo>
                      <a:pt x="8" y="14"/>
                    </a:lnTo>
                    <a:lnTo>
                      <a:pt x="8" y="0"/>
                    </a:lnTo>
                    <a:lnTo>
                      <a:pt x="0" y="0"/>
                    </a:lnTo>
                    <a:lnTo>
                      <a:pt x="0" y="11"/>
                    </a:lnTo>
                    <a:lnTo>
                      <a:pt x="1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5" name="Freeform 22">
                <a:extLst>
                  <a:ext uri="{FF2B5EF4-FFF2-40B4-BE49-F238E27FC236}">
                    <a16:creationId xmlns:a16="http://schemas.microsoft.com/office/drawing/2014/main" id="{5B041200-1B18-442B-996C-B03689630056}"/>
                  </a:ext>
                </a:extLst>
              </p:cNvPr>
              <p:cNvSpPr>
                <a:spLocks/>
              </p:cNvSpPr>
              <p:nvPr/>
            </p:nvSpPr>
            <p:spPr bwMode="auto">
              <a:xfrm>
                <a:off x="8045450" y="554038"/>
                <a:ext cx="47625" cy="34925"/>
              </a:xfrm>
              <a:custGeom>
                <a:avLst/>
                <a:gdLst>
                  <a:gd name="T0" fmla="*/ 16 w 30"/>
                  <a:gd name="T1" fmla="*/ 0 h 22"/>
                  <a:gd name="T2" fmla="*/ 0 w 30"/>
                  <a:gd name="T3" fmla="*/ 17 h 22"/>
                  <a:gd name="T4" fmla="*/ 11 w 30"/>
                  <a:gd name="T5" fmla="*/ 17 h 22"/>
                  <a:gd name="T6" fmla="*/ 19 w 30"/>
                  <a:gd name="T7" fmla="*/ 11 h 22"/>
                  <a:gd name="T8" fmla="*/ 19 w 30"/>
                  <a:gd name="T9" fmla="*/ 22 h 22"/>
                  <a:gd name="T10" fmla="*/ 30 w 30"/>
                  <a:gd name="T11" fmla="*/ 22 h 22"/>
                  <a:gd name="T12" fmla="*/ 27 w 30"/>
                  <a:gd name="T13" fmla="*/ 11 h 22"/>
                  <a:gd name="T14" fmla="*/ 16 w 30"/>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2">
                    <a:moveTo>
                      <a:pt x="16" y="0"/>
                    </a:moveTo>
                    <a:lnTo>
                      <a:pt x="0" y="17"/>
                    </a:lnTo>
                    <a:lnTo>
                      <a:pt x="11" y="17"/>
                    </a:lnTo>
                    <a:lnTo>
                      <a:pt x="19" y="11"/>
                    </a:lnTo>
                    <a:lnTo>
                      <a:pt x="19" y="22"/>
                    </a:lnTo>
                    <a:lnTo>
                      <a:pt x="30" y="22"/>
                    </a:lnTo>
                    <a:lnTo>
                      <a:pt x="27" y="11"/>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6" name="Freeform 23">
                <a:extLst>
                  <a:ext uri="{FF2B5EF4-FFF2-40B4-BE49-F238E27FC236}">
                    <a16:creationId xmlns:a16="http://schemas.microsoft.com/office/drawing/2014/main" id="{6A0AF4DF-A51F-4FD3-91AD-E94978A65B85}"/>
                  </a:ext>
                </a:extLst>
              </p:cNvPr>
              <p:cNvSpPr>
                <a:spLocks/>
              </p:cNvSpPr>
              <p:nvPr/>
            </p:nvSpPr>
            <p:spPr bwMode="auto">
              <a:xfrm>
                <a:off x="8045450" y="522288"/>
                <a:ext cx="73025" cy="58738"/>
              </a:xfrm>
              <a:custGeom>
                <a:avLst/>
                <a:gdLst>
                  <a:gd name="T0" fmla="*/ 30 w 46"/>
                  <a:gd name="T1" fmla="*/ 20 h 37"/>
                  <a:gd name="T2" fmla="*/ 22 w 46"/>
                  <a:gd name="T3" fmla="*/ 11 h 37"/>
                  <a:gd name="T4" fmla="*/ 11 w 46"/>
                  <a:gd name="T5" fmla="*/ 0 h 37"/>
                  <a:gd name="T6" fmla="*/ 0 w 46"/>
                  <a:gd name="T7" fmla="*/ 3 h 37"/>
                  <a:gd name="T8" fmla="*/ 19 w 46"/>
                  <a:gd name="T9" fmla="*/ 20 h 37"/>
                  <a:gd name="T10" fmla="*/ 25 w 46"/>
                  <a:gd name="T11" fmla="*/ 25 h 37"/>
                  <a:gd name="T12" fmla="*/ 36 w 46"/>
                  <a:gd name="T13" fmla="*/ 37 h 37"/>
                  <a:gd name="T14" fmla="*/ 46 w 46"/>
                  <a:gd name="T15" fmla="*/ 37 h 37"/>
                  <a:gd name="T16" fmla="*/ 30 w 46"/>
                  <a:gd name="T17"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7">
                    <a:moveTo>
                      <a:pt x="30" y="20"/>
                    </a:moveTo>
                    <a:lnTo>
                      <a:pt x="22" y="11"/>
                    </a:lnTo>
                    <a:lnTo>
                      <a:pt x="11" y="0"/>
                    </a:lnTo>
                    <a:lnTo>
                      <a:pt x="0" y="3"/>
                    </a:lnTo>
                    <a:lnTo>
                      <a:pt x="19" y="20"/>
                    </a:lnTo>
                    <a:lnTo>
                      <a:pt x="25" y="25"/>
                    </a:lnTo>
                    <a:lnTo>
                      <a:pt x="36" y="37"/>
                    </a:lnTo>
                    <a:lnTo>
                      <a:pt x="46" y="37"/>
                    </a:lnTo>
                    <a:lnTo>
                      <a:pt x="3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7" name="Freeform 24">
                <a:extLst>
                  <a:ext uri="{FF2B5EF4-FFF2-40B4-BE49-F238E27FC236}">
                    <a16:creationId xmlns:a16="http://schemas.microsoft.com/office/drawing/2014/main" id="{D91096B4-DF0B-4928-A0E5-C58EBADBF711}"/>
                  </a:ext>
                </a:extLst>
              </p:cNvPr>
              <p:cNvSpPr>
                <a:spLocks/>
              </p:cNvSpPr>
              <p:nvPr/>
            </p:nvSpPr>
            <p:spPr bwMode="auto">
              <a:xfrm>
                <a:off x="8196263" y="508000"/>
                <a:ext cx="44450" cy="41275"/>
              </a:xfrm>
              <a:custGeom>
                <a:avLst/>
                <a:gdLst>
                  <a:gd name="T0" fmla="*/ 11 w 28"/>
                  <a:gd name="T1" fmla="*/ 26 h 26"/>
                  <a:gd name="T2" fmla="*/ 28 w 28"/>
                  <a:gd name="T3" fmla="*/ 9 h 26"/>
                  <a:gd name="T4" fmla="*/ 17 w 28"/>
                  <a:gd name="T5" fmla="*/ 9 h 26"/>
                  <a:gd name="T6" fmla="*/ 9 w 28"/>
                  <a:gd name="T7" fmla="*/ 17 h 26"/>
                  <a:gd name="T8" fmla="*/ 9 w 28"/>
                  <a:gd name="T9" fmla="*/ 0 h 26"/>
                  <a:gd name="T10" fmla="*/ 0 w 28"/>
                  <a:gd name="T11" fmla="*/ 0 h 26"/>
                  <a:gd name="T12" fmla="*/ 0 w 28"/>
                  <a:gd name="T13" fmla="*/ 14 h 26"/>
                  <a:gd name="T14" fmla="*/ 11 w 2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6">
                    <a:moveTo>
                      <a:pt x="11" y="26"/>
                    </a:moveTo>
                    <a:lnTo>
                      <a:pt x="28" y="9"/>
                    </a:lnTo>
                    <a:lnTo>
                      <a:pt x="17" y="9"/>
                    </a:lnTo>
                    <a:lnTo>
                      <a:pt x="9" y="17"/>
                    </a:lnTo>
                    <a:lnTo>
                      <a:pt x="9" y="0"/>
                    </a:lnTo>
                    <a:lnTo>
                      <a:pt x="0" y="0"/>
                    </a:lnTo>
                    <a:lnTo>
                      <a:pt x="0" y="14"/>
                    </a:lnTo>
                    <a:lnTo>
                      <a:pt x="11"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8" name="Freeform 25">
                <a:extLst>
                  <a:ext uri="{FF2B5EF4-FFF2-40B4-BE49-F238E27FC236}">
                    <a16:creationId xmlns:a16="http://schemas.microsoft.com/office/drawing/2014/main" id="{E7B82A8C-D336-4975-AFDB-C2FC21D279F5}"/>
                  </a:ext>
                </a:extLst>
              </p:cNvPr>
              <p:cNvSpPr>
                <a:spLocks/>
              </p:cNvSpPr>
              <p:nvPr/>
            </p:nvSpPr>
            <p:spPr bwMode="auto">
              <a:xfrm>
                <a:off x="8166100" y="554038"/>
                <a:ext cx="44450" cy="34925"/>
              </a:xfrm>
              <a:custGeom>
                <a:avLst/>
                <a:gdLst>
                  <a:gd name="T0" fmla="*/ 17 w 28"/>
                  <a:gd name="T1" fmla="*/ 0 h 22"/>
                  <a:gd name="T2" fmla="*/ 0 w 28"/>
                  <a:gd name="T3" fmla="*/ 14 h 22"/>
                  <a:gd name="T4" fmla="*/ 11 w 28"/>
                  <a:gd name="T5" fmla="*/ 17 h 22"/>
                  <a:gd name="T6" fmla="*/ 19 w 28"/>
                  <a:gd name="T7" fmla="*/ 8 h 22"/>
                  <a:gd name="T8" fmla="*/ 19 w 28"/>
                  <a:gd name="T9" fmla="*/ 22 h 22"/>
                  <a:gd name="T10" fmla="*/ 28 w 28"/>
                  <a:gd name="T11" fmla="*/ 22 h 22"/>
                  <a:gd name="T12" fmla="*/ 28 w 28"/>
                  <a:gd name="T13" fmla="*/ 11 h 22"/>
                  <a:gd name="T14" fmla="*/ 17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17" y="0"/>
                    </a:moveTo>
                    <a:lnTo>
                      <a:pt x="0" y="14"/>
                    </a:lnTo>
                    <a:lnTo>
                      <a:pt x="11" y="17"/>
                    </a:lnTo>
                    <a:lnTo>
                      <a:pt x="19" y="8"/>
                    </a:lnTo>
                    <a:lnTo>
                      <a:pt x="19" y="22"/>
                    </a:lnTo>
                    <a:lnTo>
                      <a:pt x="28" y="22"/>
                    </a:lnTo>
                    <a:lnTo>
                      <a:pt x="28" y="11"/>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9" name="Freeform 26">
                <a:extLst>
                  <a:ext uri="{FF2B5EF4-FFF2-40B4-BE49-F238E27FC236}">
                    <a16:creationId xmlns:a16="http://schemas.microsoft.com/office/drawing/2014/main" id="{F2BEA784-79B9-4550-A47B-5A687369119F}"/>
                  </a:ext>
                </a:extLst>
              </p:cNvPr>
              <p:cNvSpPr>
                <a:spLocks/>
              </p:cNvSpPr>
              <p:nvPr/>
            </p:nvSpPr>
            <p:spPr bwMode="auto">
              <a:xfrm>
                <a:off x="8166100" y="522288"/>
                <a:ext cx="74613" cy="58738"/>
              </a:xfrm>
              <a:custGeom>
                <a:avLst/>
                <a:gdLst>
                  <a:gd name="T0" fmla="*/ 30 w 47"/>
                  <a:gd name="T1" fmla="*/ 17 h 37"/>
                  <a:gd name="T2" fmla="*/ 19 w 47"/>
                  <a:gd name="T3" fmla="*/ 8 h 37"/>
                  <a:gd name="T4" fmla="*/ 11 w 47"/>
                  <a:gd name="T5" fmla="*/ 0 h 37"/>
                  <a:gd name="T6" fmla="*/ 0 w 47"/>
                  <a:gd name="T7" fmla="*/ 0 h 37"/>
                  <a:gd name="T8" fmla="*/ 19 w 47"/>
                  <a:gd name="T9" fmla="*/ 20 h 37"/>
                  <a:gd name="T10" fmla="*/ 25 w 47"/>
                  <a:gd name="T11" fmla="*/ 25 h 37"/>
                  <a:gd name="T12" fmla="*/ 36 w 47"/>
                  <a:gd name="T13" fmla="*/ 37 h 37"/>
                  <a:gd name="T14" fmla="*/ 47 w 47"/>
                  <a:gd name="T15" fmla="*/ 34 h 37"/>
                  <a:gd name="T16" fmla="*/ 30 w 47"/>
                  <a:gd name="T17"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7">
                    <a:moveTo>
                      <a:pt x="30" y="17"/>
                    </a:moveTo>
                    <a:lnTo>
                      <a:pt x="19" y="8"/>
                    </a:lnTo>
                    <a:lnTo>
                      <a:pt x="11" y="0"/>
                    </a:lnTo>
                    <a:lnTo>
                      <a:pt x="0" y="0"/>
                    </a:lnTo>
                    <a:lnTo>
                      <a:pt x="19" y="20"/>
                    </a:lnTo>
                    <a:lnTo>
                      <a:pt x="25" y="25"/>
                    </a:lnTo>
                    <a:lnTo>
                      <a:pt x="36" y="37"/>
                    </a:lnTo>
                    <a:lnTo>
                      <a:pt x="47" y="34"/>
                    </a:lnTo>
                    <a:lnTo>
                      <a:pt x="3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grpSp>
        <p:nvGrpSpPr>
          <p:cNvPr id="76" name="Group 75">
            <a:extLst>
              <a:ext uri="{FF2B5EF4-FFF2-40B4-BE49-F238E27FC236}">
                <a16:creationId xmlns:a16="http://schemas.microsoft.com/office/drawing/2014/main" id="{E4C4146F-D5DF-4558-9295-4F60B5B09F0A}"/>
              </a:ext>
            </a:extLst>
          </p:cNvPr>
          <p:cNvGrpSpPr/>
          <p:nvPr/>
        </p:nvGrpSpPr>
        <p:grpSpPr>
          <a:xfrm>
            <a:off x="10039300" y="3746827"/>
            <a:ext cx="625630" cy="625630"/>
            <a:chOff x="10087883" y="3821462"/>
            <a:chExt cx="638175" cy="638175"/>
          </a:xfrm>
        </p:grpSpPr>
        <p:sp>
          <p:nvSpPr>
            <p:cNvPr id="54" name="Oval 53">
              <a:extLst>
                <a:ext uri="{FF2B5EF4-FFF2-40B4-BE49-F238E27FC236}">
                  <a16:creationId xmlns:a16="http://schemas.microsoft.com/office/drawing/2014/main" id="{523D9657-A6F8-45EC-BF73-3111957D3E48}"/>
                </a:ext>
              </a:extLst>
            </p:cNvPr>
            <p:cNvSpPr/>
            <p:nvPr/>
          </p:nvSpPr>
          <p:spPr bwMode="auto">
            <a:xfrm>
              <a:off x="10087883" y="3821462"/>
              <a:ext cx="638175" cy="638175"/>
            </a:xfrm>
            <a:prstGeom prst="ellipse">
              <a:avLst/>
            </a:prstGeom>
            <a:solidFill>
              <a:schemeClr val="accent1"/>
            </a:solidFill>
            <a:ln w="19050" cap="rnd">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30">
              <a:extLst>
                <a:ext uri="{FF2B5EF4-FFF2-40B4-BE49-F238E27FC236}">
                  <a16:creationId xmlns:a16="http://schemas.microsoft.com/office/drawing/2014/main" id="{64A02860-B946-4334-9471-D87613E933D2}"/>
                </a:ext>
              </a:extLst>
            </p:cNvPr>
            <p:cNvSpPr>
              <a:spLocks noEditPoints="1"/>
            </p:cNvSpPr>
            <p:nvPr/>
          </p:nvSpPr>
          <p:spPr bwMode="auto">
            <a:xfrm>
              <a:off x="10235997" y="3967148"/>
              <a:ext cx="341946" cy="340737"/>
            </a:xfrm>
            <a:custGeom>
              <a:avLst/>
              <a:gdLst>
                <a:gd name="T0" fmla="*/ 52 w 103"/>
                <a:gd name="T1" fmla="*/ 103 h 103"/>
                <a:gd name="T2" fmla="*/ 31 w 103"/>
                <a:gd name="T3" fmla="*/ 30 h 103"/>
                <a:gd name="T4" fmla="*/ 64 w 103"/>
                <a:gd name="T5" fmla="*/ 24 h 103"/>
                <a:gd name="T6" fmla="*/ 70 w 103"/>
                <a:gd name="T7" fmla="*/ 31 h 103"/>
                <a:gd name="T8" fmla="*/ 54 w 103"/>
                <a:gd name="T9" fmla="*/ 25 h 103"/>
                <a:gd name="T10" fmla="*/ 33 w 103"/>
                <a:gd name="T11" fmla="*/ 32 h 103"/>
                <a:gd name="T12" fmla="*/ 28 w 103"/>
                <a:gd name="T13" fmla="*/ 42 h 103"/>
                <a:gd name="T14" fmla="*/ 54 w 103"/>
                <a:gd name="T15" fmla="*/ 27 h 103"/>
                <a:gd name="T16" fmla="*/ 73 w 103"/>
                <a:gd name="T17" fmla="*/ 40 h 103"/>
                <a:gd name="T18" fmla="*/ 70 w 103"/>
                <a:gd name="T19" fmla="*/ 41 h 103"/>
                <a:gd name="T20" fmla="*/ 49 w 103"/>
                <a:gd name="T21" fmla="*/ 31 h 103"/>
                <a:gd name="T22" fmla="*/ 31 w 103"/>
                <a:gd name="T23" fmla="*/ 43 h 103"/>
                <a:gd name="T24" fmla="*/ 30 w 103"/>
                <a:gd name="T25" fmla="*/ 74 h 103"/>
                <a:gd name="T26" fmla="*/ 47 w 103"/>
                <a:gd name="T27" fmla="*/ 58 h 103"/>
                <a:gd name="T28" fmla="*/ 53 w 103"/>
                <a:gd name="T29" fmla="*/ 53 h 103"/>
                <a:gd name="T30" fmla="*/ 37 w 103"/>
                <a:gd name="T31" fmla="*/ 72 h 103"/>
                <a:gd name="T32" fmla="*/ 35 w 103"/>
                <a:gd name="T33" fmla="*/ 78 h 103"/>
                <a:gd name="T34" fmla="*/ 51 w 103"/>
                <a:gd name="T35" fmla="*/ 63 h 103"/>
                <a:gd name="T36" fmla="*/ 55 w 103"/>
                <a:gd name="T37" fmla="*/ 50 h 103"/>
                <a:gd name="T38" fmla="*/ 43 w 103"/>
                <a:gd name="T39" fmla="*/ 57 h 103"/>
                <a:gd name="T40" fmla="*/ 28 w 103"/>
                <a:gd name="T41" fmla="*/ 68 h 103"/>
                <a:gd name="T42" fmla="*/ 43 w 103"/>
                <a:gd name="T43" fmla="*/ 50 h 103"/>
                <a:gd name="T44" fmla="*/ 58 w 103"/>
                <a:gd name="T45" fmla="*/ 50 h 103"/>
                <a:gd name="T46" fmla="*/ 43 w 103"/>
                <a:gd name="T47" fmla="*/ 75 h 103"/>
                <a:gd name="T48" fmla="*/ 54 w 103"/>
                <a:gd name="T49" fmla="*/ 82 h 103"/>
                <a:gd name="T50" fmla="*/ 49 w 103"/>
                <a:gd name="T51" fmla="*/ 77 h 103"/>
                <a:gd name="T52" fmla="*/ 44 w 103"/>
                <a:gd name="T53" fmla="*/ 80 h 103"/>
                <a:gd name="T54" fmla="*/ 42 w 103"/>
                <a:gd name="T55" fmla="*/ 78 h 103"/>
                <a:gd name="T56" fmla="*/ 54 w 103"/>
                <a:gd name="T57" fmla="*/ 76 h 103"/>
                <a:gd name="T58" fmla="*/ 61 w 103"/>
                <a:gd name="T59" fmla="*/ 80 h 103"/>
                <a:gd name="T60" fmla="*/ 60 w 103"/>
                <a:gd name="T61" fmla="*/ 80 h 103"/>
                <a:gd name="T62" fmla="*/ 56 w 103"/>
                <a:gd name="T63" fmla="*/ 65 h 103"/>
                <a:gd name="T64" fmla="*/ 59 w 103"/>
                <a:gd name="T65" fmla="*/ 75 h 103"/>
                <a:gd name="T66" fmla="*/ 61 w 103"/>
                <a:gd name="T67" fmla="*/ 80 h 103"/>
                <a:gd name="T68" fmla="*/ 61 w 103"/>
                <a:gd name="T69" fmla="*/ 69 h 103"/>
                <a:gd name="T70" fmla="*/ 61 w 103"/>
                <a:gd name="T71" fmla="*/ 52 h 103"/>
                <a:gd name="T72" fmla="*/ 41 w 103"/>
                <a:gd name="T73" fmla="*/ 50 h 103"/>
                <a:gd name="T74" fmla="*/ 28 w 103"/>
                <a:gd name="T75" fmla="*/ 61 h 103"/>
                <a:gd name="T76" fmla="*/ 34 w 103"/>
                <a:gd name="T77" fmla="*/ 54 h 103"/>
                <a:gd name="T78" fmla="*/ 52 w 103"/>
                <a:gd name="T79" fmla="*/ 39 h 103"/>
                <a:gd name="T80" fmla="*/ 64 w 103"/>
                <a:gd name="T81" fmla="*/ 52 h 103"/>
                <a:gd name="T82" fmla="*/ 64 w 103"/>
                <a:gd name="T83" fmla="*/ 69 h 103"/>
                <a:gd name="T84" fmla="*/ 70 w 103"/>
                <a:gd name="T85" fmla="*/ 75 h 103"/>
                <a:gd name="T86" fmla="*/ 65 w 103"/>
                <a:gd name="T87" fmla="*/ 60 h 103"/>
                <a:gd name="T88" fmla="*/ 65 w 103"/>
                <a:gd name="T89" fmla="*/ 44 h 103"/>
                <a:gd name="T90" fmla="*/ 40 w 103"/>
                <a:gd name="T91" fmla="*/ 42 h 103"/>
                <a:gd name="T92" fmla="*/ 29 w 103"/>
                <a:gd name="T93" fmla="*/ 53 h 103"/>
                <a:gd name="T94" fmla="*/ 34 w 103"/>
                <a:gd name="T95" fmla="*/ 44 h 103"/>
                <a:gd name="T96" fmla="*/ 61 w 103"/>
                <a:gd name="T97" fmla="*/ 36 h 103"/>
                <a:gd name="T98" fmla="*/ 69 w 103"/>
                <a:gd name="T99" fmla="*/ 58 h 103"/>
                <a:gd name="T100" fmla="*/ 73 w 103"/>
                <a:gd name="T101" fmla="*/ 69 h 103"/>
                <a:gd name="T102" fmla="*/ 74 w 103"/>
                <a:gd name="T103" fmla="*/ 64 h 103"/>
                <a:gd name="T104" fmla="*/ 71 w 103"/>
                <a:gd name="T105" fmla="*/ 63 h 103"/>
                <a:gd name="T106" fmla="*/ 71 w 103"/>
                <a:gd name="T107" fmla="*/ 46 h 103"/>
                <a:gd name="T108" fmla="*/ 75 w 103"/>
                <a:gd name="T109" fmla="*/ 4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 h="103">
                  <a:moveTo>
                    <a:pt x="52" y="0"/>
                  </a:moveTo>
                  <a:cubicBezTo>
                    <a:pt x="23" y="0"/>
                    <a:pt x="0" y="23"/>
                    <a:pt x="0" y="51"/>
                  </a:cubicBezTo>
                  <a:cubicBezTo>
                    <a:pt x="0" y="80"/>
                    <a:pt x="23" y="103"/>
                    <a:pt x="52" y="103"/>
                  </a:cubicBezTo>
                  <a:cubicBezTo>
                    <a:pt x="80" y="103"/>
                    <a:pt x="103" y="80"/>
                    <a:pt x="103" y="51"/>
                  </a:cubicBezTo>
                  <a:cubicBezTo>
                    <a:pt x="103" y="23"/>
                    <a:pt x="80" y="0"/>
                    <a:pt x="52" y="0"/>
                  </a:cubicBezTo>
                  <a:close/>
                  <a:moveTo>
                    <a:pt x="31" y="30"/>
                  </a:moveTo>
                  <a:cubicBezTo>
                    <a:pt x="32" y="29"/>
                    <a:pt x="33" y="27"/>
                    <a:pt x="35" y="26"/>
                  </a:cubicBezTo>
                  <a:cubicBezTo>
                    <a:pt x="39" y="24"/>
                    <a:pt x="43" y="22"/>
                    <a:pt x="47" y="22"/>
                  </a:cubicBezTo>
                  <a:cubicBezTo>
                    <a:pt x="53" y="21"/>
                    <a:pt x="58" y="22"/>
                    <a:pt x="64" y="24"/>
                  </a:cubicBezTo>
                  <a:cubicBezTo>
                    <a:pt x="66" y="25"/>
                    <a:pt x="68" y="27"/>
                    <a:pt x="70" y="28"/>
                  </a:cubicBezTo>
                  <a:cubicBezTo>
                    <a:pt x="71" y="29"/>
                    <a:pt x="71" y="29"/>
                    <a:pt x="71" y="30"/>
                  </a:cubicBezTo>
                  <a:cubicBezTo>
                    <a:pt x="71" y="30"/>
                    <a:pt x="71" y="31"/>
                    <a:pt x="70" y="31"/>
                  </a:cubicBezTo>
                  <a:cubicBezTo>
                    <a:pt x="69" y="31"/>
                    <a:pt x="69" y="31"/>
                    <a:pt x="68" y="31"/>
                  </a:cubicBezTo>
                  <a:cubicBezTo>
                    <a:pt x="68" y="30"/>
                    <a:pt x="67" y="30"/>
                    <a:pt x="67" y="30"/>
                  </a:cubicBezTo>
                  <a:cubicBezTo>
                    <a:pt x="63" y="27"/>
                    <a:pt x="59" y="25"/>
                    <a:pt x="54" y="25"/>
                  </a:cubicBezTo>
                  <a:cubicBezTo>
                    <a:pt x="50" y="24"/>
                    <a:pt x="46" y="25"/>
                    <a:pt x="42" y="26"/>
                  </a:cubicBezTo>
                  <a:cubicBezTo>
                    <a:pt x="39" y="27"/>
                    <a:pt x="37" y="29"/>
                    <a:pt x="34" y="31"/>
                  </a:cubicBezTo>
                  <a:cubicBezTo>
                    <a:pt x="34" y="32"/>
                    <a:pt x="34" y="32"/>
                    <a:pt x="33" y="32"/>
                  </a:cubicBezTo>
                  <a:cubicBezTo>
                    <a:pt x="33" y="33"/>
                    <a:pt x="32" y="33"/>
                    <a:pt x="31" y="33"/>
                  </a:cubicBezTo>
                  <a:cubicBezTo>
                    <a:pt x="30" y="32"/>
                    <a:pt x="30" y="31"/>
                    <a:pt x="31" y="30"/>
                  </a:cubicBezTo>
                  <a:close/>
                  <a:moveTo>
                    <a:pt x="28" y="42"/>
                  </a:moveTo>
                  <a:cubicBezTo>
                    <a:pt x="30" y="39"/>
                    <a:pt x="33" y="35"/>
                    <a:pt x="35" y="33"/>
                  </a:cubicBezTo>
                  <a:cubicBezTo>
                    <a:pt x="39" y="30"/>
                    <a:pt x="42" y="28"/>
                    <a:pt x="46" y="28"/>
                  </a:cubicBezTo>
                  <a:cubicBezTo>
                    <a:pt x="49" y="27"/>
                    <a:pt x="52" y="27"/>
                    <a:pt x="54" y="27"/>
                  </a:cubicBezTo>
                  <a:cubicBezTo>
                    <a:pt x="58" y="28"/>
                    <a:pt x="61" y="29"/>
                    <a:pt x="65" y="31"/>
                  </a:cubicBezTo>
                  <a:cubicBezTo>
                    <a:pt x="68" y="33"/>
                    <a:pt x="70" y="36"/>
                    <a:pt x="73" y="39"/>
                  </a:cubicBezTo>
                  <a:cubicBezTo>
                    <a:pt x="73" y="39"/>
                    <a:pt x="73" y="39"/>
                    <a:pt x="73" y="40"/>
                  </a:cubicBezTo>
                  <a:cubicBezTo>
                    <a:pt x="73" y="40"/>
                    <a:pt x="73" y="40"/>
                    <a:pt x="73" y="40"/>
                  </a:cubicBezTo>
                  <a:cubicBezTo>
                    <a:pt x="73" y="40"/>
                    <a:pt x="73" y="41"/>
                    <a:pt x="72" y="41"/>
                  </a:cubicBezTo>
                  <a:cubicBezTo>
                    <a:pt x="71" y="42"/>
                    <a:pt x="71" y="41"/>
                    <a:pt x="70" y="41"/>
                  </a:cubicBezTo>
                  <a:cubicBezTo>
                    <a:pt x="69" y="39"/>
                    <a:pt x="68" y="38"/>
                    <a:pt x="67" y="37"/>
                  </a:cubicBezTo>
                  <a:cubicBezTo>
                    <a:pt x="64" y="34"/>
                    <a:pt x="60" y="32"/>
                    <a:pt x="56" y="31"/>
                  </a:cubicBezTo>
                  <a:cubicBezTo>
                    <a:pt x="54" y="30"/>
                    <a:pt x="51" y="30"/>
                    <a:pt x="49" y="31"/>
                  </a:cubicBezTo>
                  <a:cubicBezTo>
                    <a:pt x="46" y="31"/>
                    <a:pt x="44" y="32"/>
                    <a:pt x="41" y="33"/>
                  </a:cubicBezTo>
                  <a:cubicBezTo>
                    <a:pt x="39" y="34"/>
                    <a:pt x="37" y="36"/>
                    <a:pt x="35" y="38"/>
                  </a:cubicBezTo>
                  <a:cubicBezTo>
                    <a:pt x="34" y="40"/>
                    <a:pt x="32" y="42"/>
                    <a:pt x="31" y="43"/>
                  </a:cubicBezTo>
                  <a:cubicBezTo>
                    <a:pt x="31" y="44"/>
                    <a:pt x="30" y="45"/>
                    <a:pt x="29" y="44"/>
                  </a:cubicBezTo>
                  <a:cubicBezTo>
                    <a:pt x="28" y="44"/>
                    <a:pt x="28" y="43"/>
                    <a:pt x="28" y="42"/>
                  </a:cubicBezTo>
                  <a:close/>
                  <a:moveTo>
                    <a:pt x="30" y="74"/>
                  </a:moveTo>
                  <a:cubicBezTo>
                    <a:pt x="30" y="73"/>
                    <a:pt x="31" y="72"/>
                    <a:pt x="31" y="72"/>
                  </a:cubicBezTo>
                  <a:cubicBezTo>
                    <a:pt x="33" y="71"/>
                    <a:pt x="35" y="69"/>
                    <a:pt x="36" y="68"/>
                  </a:cubicBezTo>
                  <a:cubicBezTo>
                    <a:pt x="40" y="65"/>
                    <a:pt x="44" y="62"/>
                    <a:pt x="47" y="58"/>
                  </a:cubicBezTo>
                  <a:cubicBezTo>
                    <a:pt x="48" y="56"/>
                    <a:pt x="49" y="54"/>
                    <a:pt x="50" y="52"/>
                  </a:cubicBezTo>
                  <a:cubicBezTo>
                    <a:pt x="50" y="52"/>
                    <a:pt x="51" y="51"/>
                    <a:pt x="52" y="51"/>
                  </a:cubicBezTo>
                  <a:cubicBezTo>
                    <a:pt x="52" y="52"/>
                    <a:pt x="53" y="52"/>
                    <a:pt x="53" y="53"/>
                  </a:cubicBezTo>
                  <a:cubicBezTo>
                    <a:pt x="53" y="53"/>
                    <a:pt x="53" y="54"/>
                    <a:pt x="53" y="54"/>
                  </a:cubicBezTo>
                  <a:cubicBezTo>
                    <a:pt x="52" y="56"/>
                    <a:pt x="50" y="58"/>
                    <a:pt x="49" y="60"/>
                  </a:cubicBezTo>
                  <a:cubicBezTo>
                    <a:pt x="45" y="65"/>
                    <a:pt x="41" y="68"/>
                    <a:pt x="37" y="72"/>
                  </a:cubicBezTo>
                  <a:cubicBezTo>
                    <a:pt x="36" y="73"/>
                    <a:pt x="34" y="74"/>
                    <a:pt x="33" y="75"/>
                  </a:cubicBezTo>
                  <a:cubicBezTo>
                    <a:pt x="32" y="76"/>
                    <a:pt x="30" y="75"/>
                    <a:pt x="30" y="74"/>
                  </a:cubicBezTo>
                  <a:close/>
                  <a:moveTo>
                    <a:pt x="35" y="78"/>
                  </a:moveTo>
                  <a:cubicBezTo>
                    <a:pt x="35" y="77"/>
                    <a:pt x="35" y="77"/>
                    <a:pt x="36" y="76"/>
                  </a:cubicBezTo>
                  <a:cubicBezTo>
                    <a:pt x="37" y="75"/>
                    <a:pt x="39" y="74"/>
                    <a:pt x="41" y="72"/>
                  </a:cubicBezTo>
                  <a:cubicBezTo>
                    <a:pt x="44" y="69"/>
                    <a:pt x="48" y="66"/>
                    <a:pt x="51" y="63"/>
                  </a:cubicBezTo>
                  <a:cubicBezTo>
                    <a:pt x="53" y="61"/>
                    <a:pt x="54" y="59"/>
                    <a:pt x="55" y="56"/>
                  </a:cubicBezTo>
                  <a:cubicBezTo>
                    <a:pt x="55" y="55"/>
                    <a:pt x="56" y="54"/>
                    <a:pt x="56" y="53"/>
                  </a:cubicBezTo>
                  <a:cubicBezTo>
                    <a:pt x="55" y="52"/>
                    <a:pt x="55" y="51"/>
                    <a:pt x="55" y="50"/>
                  </a:cubicBezTo>
                  <a:cubicBezTo>
                    <a:pt x="53" y="48"/>
                    <a:pt x="51" y="48"/>
                    <a:pt x="49" y="49"/>
                  </a:cubicBezTo>
                  <a:cubicBezTo>
                    <a:pt x="48" y="49"/>
                    <a:pt x="47" y="50"/>
                    <a:pt x="46" y="52"/>
                  </a:cubicBezTo>
                  <a:cubicBezTo>
                    <a:pt x="46" y="53"/>
                    <a:pt x="45" y="55"/>
                    <a:pt x="43" y="57"/>
                  </a:cubicBezTo>
                  <a:cubicBezTo>
                    <a:pt x="42" y="60"/>
                    <a:pt x="39" y="62"/>
                    <a:pt x="37" y="64"/>
                  </a:cubicBezTo>
                  <a:cubicBezTo>
                    <a:pt x="35" y="65"/>
                    <a:pt x="32" y="67"/>
                    <a:pt x="30" y="69"/>
                  </a:cubicBezTo>
                  <a:cubicBezTo>
                    <a:pt x="29" y="69"/>
                    <a:pt x="28" y="69"/>
                    <a:pt x="28" y="68"/>
                  </a:cubicBezTo>
                  <a:cubicBezTo>
                    <a:pt x="27" y="67"/>
                    <a:pt x="27" y="67"/>
                    <a:pt x="28" y="66"/>
                  </a:cubicBezTo>
                  <a:cubicBezTo>
                    <a:pt x="30" y="64"/>
                    <a:pt x="32" y="63"/>
                    <a:pt x="34" y="61"/>
                  </a:cubicBezTo>
                  <a:cubicBezTo>
                    <a:pt x="38" y="58"/>
                    <a:pt x="41" y="55"/>
                    <a:pt x="43" y="50"/>
                  </a:cubicBezTo>
                  <a:cubicBezTo>
                    <a:pt x="44" y="48"/>
                    <a:pt x="46" y="46"/>
                    <a:pt x="48" y="45"/>
                  </a:cubicBezTo>
                  <a:cubicBezTo>
                    <a:pt x="49" y="45"/>
                    <a:pt x="50" y="45"/>
                    <a:pt x="51" y="45"/>
                  </a:cubicBezTo>
                  <a:cubicBezTo>
                    <a:pt x="54" y="45"/>
                    <a:pt x="57" y="47"/>
                    <a:pt x="58" y="50"/>
                  </a:cubicBezTo>
                  <a:cubicBezTo>
                    <a:pt x="59" y="52"/>
                    <a:pt x="59" y="55"/>
                    <a:pt x="58" y="58"/>
                  </a:cubicBezTo>
                  <a:cubicBezTo>
                    <a:pt x="57" y="60"/>
                    <a:pt x="55" y="63"/>
                    <a:pt x="53" y="65"/>
                  </a:cubicBezTo>
                  <a:cubicBezTo>
                    <a:pt x="50" y="69"/>
                    <a:pt x="47" y="72"/>
                    <a:pt x="43" y="75"/>
                  </a:cubicBezTo>
                  <a:cubicBezTo>
                    <a:pt x="41" y="76"/>
                    <a:pt x="39" y="78"/>
                    <a:pt x="38" y="79"/>
                  </a:cubicBezTo>
                  <a:cubicBezTo>
                    <a:pt x="37" y="80"/>
                    <a:pt x="35" y="79"/>
                    <a:pt x="35" y="78"/>
                  </a:cubicBezTo>
                  <a:close/>
                  <a:moveTo>
                    <a:pt x="54" y="82"/>
                  </a:moveTo>
                  <a:cubicBezTo>
                    <a:pt x="53" y="82"/>
                    <a:pt x="52" y="82"/>
                    <a:pt x="52" y="81"/>
                  </a:cubicBezTo>
                  <a:cubicBezTo>
                    <a:pt x="52" y="80"/>
                    <a:pt x="51" y="79"/>
                    <a:pt x="51" y="78"/>
                  </a:cubicBezTo>
                  <a:cubicBezTo>
                    <a:pt x="51" y="78"/>
                    <a:pt x="50" y="77"/>
                    <a:pt x="49" y="77"/>
                  </a:cubicBezTo>
                  <a:cubicBezTo>
                    <a:pt x="49" y="77"/>
                    <a:pt x="49" y="77"/>
                    <a:pt x="48" y="77"/>
                  </a:cubicBezTo>
                  <a:cubicBezTo>
                    <a:pt x="48" y="77"/>
                    <a:pt x="47" y="78"/>
                    <a:pt x="46" y="78"/>
                  </a:cubicBezTo>
                  <a:cubicBezTo>
                    <a:pt x="46" y="79"/>
                    <a:pt x="45" y="80"/>
                    <a:pt x="44" y="80"/>
                  </a:cubicBezTo>
                  <a:cubicBezTo>
                    <a:pt x="44" y="81"/>
                    <a:pt x="43" y="81"/>
                    <a:pt x="43" y="81"/>
                  </a:cubicBezTo>
                  <a:cubicBezTo>
                    <a:pt x="42" y="80"/>
                    <a:pt x="42" y="80"/>
                    <a:pt x="42" y="79"/>
                  </a:cubicBezTo>
                  <a:cubicBezTo>
                    <a:pt x="42" y="79"/>
                    <a:pt x="42" y="78"/>
                    <a:pt x="42" y="78"/>
                  </a:cubicBezTo>
                  <a:cubicBezTo>
                    <a:pt x="43" y="77"/>
                    <a:pt x="45" y="75"/>
                    <a:pt x="47" y="74"/>
                  </a:cubicBezTo>
                  <a:cubicBezTo>
                    <a:pt x="47" y="74"/>
                    <a:pt x="48" y="74"/>
                    <a:pt x="49" y="74"/>
                  </a:cubicBezTo>
                  <a:cubicBezTo>
                    <a:pt x="51" y="74"/>
                    <a:pt x="53" y="75"/>
                    <a:pt x="54" y="76"/>
                  </a:cubicBezTo>
                  <a:cubicBezTo>
                    <a:pt x="54" y="77"/>
                    <a:pt x="55" y="79"/>
                    <a:pt x="55" y="80"/>
                  </a:cubicBezTo>
                  <a:cubicBezTo>
                    <a:pt x="56" y="81"/>
                    <a:pt x="55" y="82"/>
                    <a:pt x="54" y="82"/>
                  </a:cubicBezTo>
                  <a:close/>
                  <a:moveTo>
                    <a:pt x="61" y="80"/>
                  </a:moveTo>
                  <a:cubicBezTo>
                    <a:pt x="61" y="80"/>
                    <a:pt x="61" y="80"/>
                    <a:pt x="61" y="80"/>
                  </a:cubicBezTo>
                  <a:cubicBezTo>
                    <a:pt x="61" y="80"/>
                    <a:pt x="61" y="80"/>
                    <a:pt x="61" y="80"/>
                  </a:cubicBezTo>
                  <a:cubicBezTo>
                    <a:pt x="60" y="80"/>
                    <a:pt x="60" y="80"/>
                    <a:pt x="60" y="80"/>
                  </a:cubicBezTo>
                  <a:cubicBezTo>
                    <a:pt x="57" y="78"/>
                    <a:pt x="56" y="76"/>
                    <a:pt x="54" y="73"/>
                  </a:cubicBezTo>
                  <a:cubicBezTo>
                    <a:pt x="53" y="71"/>
                    <a:pt x="53" y="68"/>
                    <a:pt x="55" y="66"/>
                  </a:cubicBezTo>
                  <a:cubicBezTo>
                    <a:pt x="55" y="65"/>
                    <a:pt x="55" y="65"/>
                    <a:pt x="56" y="65"/>
                  </a:cubicBezTo>
                  <a:cubicBezTo>
                    <a:pt x="57" y="64"/>
                    <a:pt x="57" y="65"/>
                    <a:pt x="58" y="65"/>
                  </a:cubicBezTo>
                  <a:cubicBezTo>
                    <a:pt x="58" y="66"/>
                    <a:pt x="58" y="66"/>
                    <a:pt x="58" y="67"/>
                  </a:cubicBezTo>
                  <a:cubicBezTo>
                    <a:pt x="56" y="70"/>
                    <a:pt x="57" y="72"/>
                    <a:pt x="59" y="75"/>
                  </a:cubicBezTo>
                  <a:cubicBezTo>
                    <a:pt x="60" y="75"/>
                    <a:pt x="61" y="76"/>
                    <a:pt x="62" y="77"/>
                  </a:cubicBezTo>
                  <a:cubicBezTo>
                    <a:pt x="62" y="77"/>
                    <a:pt x="62" y="78"/>
                    <a:pt x="62" y="79"/>
                  </a:cubicBezTo>
                  <a:cubicBezTo>
                    <a:pt x="62" y="79"/>
                    <a:pt x="62" y="80"/>
                    <a:pt x="61" y="80"/>
                  </a:cubicBezTo>
                  <a:close/>
                  <a:moveTo>
                    <a:pt x="70" y="75"/>
                  </a:moveTo>
                  <a:cubicBezTo>
                    <a:pt x="69" y="76"/>
                    <a:pt x="68" y="76"/>
                    <a:pt x="68" y="76"/>
                  </a:cubicBezTo>
                  <a:cubicBezTo>
                    <a:pt x="64" y="75"/>
                    <a:pt x="62" y="72"/>
                    <a:pt x="61" y="69"/>
                  </a:cubicBezTo>
                  <a:cubicBezTo>
                    <a:pt x="60" y="67"/>
                    <a:pt x="59" y="64"/>
                    <a:pt x="60" y="62"/>
                  </a:cubicBezTo>
                  <a:cubicBezTo>
                    <a:pt x="60" y="60"/>
                    <a:pt x="60" y="59"/>
                    <a:pt x="60" y="57"/>
                  </a:cubicBezTo>
                  <a:cubicBezTo>
                    <a:pt x="61" y="56"/>
                    <a:pt x="61" y="54"/>
                    <a:pt x="61" y="52"/>
                  </a:cubicBezTo>
                  <a:cubicBezTo>
                    <a:pt x="61" y="49"/>
                    <a:pt x="60" y="46"/>
                    <a:pt x="57" y="44"/>
                  </a:cubicBezTo>
                  <a:cubicBezTo>
                    <a:pt x="53" y="41"/>
                    <a:pt x="48" y="42"/>
                    <a:pt x="44" y="45"/>
                  </a:cubicBezTo>
                  <a:cubicBezTo>
                    <a:pt x="43" y="46"/>
                    <a:pt x="41" y="48"/>
                    <a:pt x="41" y="50"/>
                  </a:cubicBezTo>
                  <a:cubicBezTo>
                    <a:pt x="39" y="53"/>
                    <a:pt x="38" y="55"/>
                    <a:pt x="35" y="57"/>
                  </a:cubicBezTo>
                  <a:cubicBezTo>
                    <a:pt x="34" y="59"/>
                    <a:pt x="32" y="60"/>
                    <a:pt x="30" y="61"/>
                  </a:cubicBezTo>
                  <a:cubicBezTo>
                    <a:pt x="29" y="62"/>
                    <a:pt x="29" y="62"/>
                    <a:pt x="28" y="61"/>
                  </a:cubicBezTo>
                  <a:cubicBezTo>
                    <a:pt x="28" y="61"/>
                    <a:pt x="27" y="60"/>
                    <a:pt x="27" y="60"/>
                  </a:cubicBezTo>
                  <a:cubicBezTo>
                    <a:pt x="27" y="59"/>
                    <a:pt x="28" y="59"/>
                    <a:pt x="28" y="58"/>
                  </a:cubicBezTo>
                  <a:cubicBezTo>
                    <a:pt x="30" y="57"/>
                    <a:pt x="32" y="55"/>
                    <a:pt x="34" y="54"/>
                  </a:cubicBezTo>
                  <a:cubicBezTo>
                    <a:pt x="36" y="52"/>
                    <a:pt x="37" y="51"/>
                    <a:pt x="37" y="49"/>
                  </a:cubicBezTo>
                  <a:cubicBezTo>
                    <a:pt x="39" y="46"/>
                    <a:pt x="41" y="44"/>
                    <a:pt x="43" y="42"/>
                  </a:cubicBezTo>
                  <a:cubicBezTo>
                    <a:pt x="46" y="40"/>
                    <a:pt x="49" y="39"/>
                    <a:pt x="52" y="39"/>
                  </a:cubicBezTo>
                  <a:cubicBezTo>
                    <a:pt x="58" y="39"/>
                    <a:pt x="63" y="44"/>
                    <a:pt x="64" y="49"/>
                  </a:cubicBezTo>
                  <a:cubicBezTo>
                    <a:pt x="64" y="50"/>
                    <a:pt x="64" y="51"/>
                    <a:pt x="64" y="52"/>
                  </a:cubicBezTo>
                  <a:cubicBezTo>
                    <a:pt x="64" y="52"/>
                    <a:pt x="64" y="52"/>
                    <a:pt x="64" y="52"/>
                  </a:cubicBezTo>
                  <a:cubicBezTo>
                    <a:pt x="64" y="54"/>
                    <a:pt x="64" y="56"/>
                    <a:pt x="64" y="58"/>
                  </a:cubicBezTo>
                  <a:cubicBezTo>
                    <a:pt x="63" y="60"/>
                    <a:pt x="63" y="61"/>
                    <a:pt x="63" y="63"/>
                  </a:cubicBezTo>
                  <a:cubicBezTo>
                    <a:pt x="63" y="65"/>
                    <a:pt x="63" y="67"/>
                    <a:pt x="64" y="69"/>
                  </a:cubicBezTo>
                  <a:cubicBezTo>
                    <a:pt x="65" y="71"/>
                    <a:pt x="66" y="72"/>
                    <a:pt x="68" y="72"/>
                  </a:cubicBezTo>
                  <a:cubicBezTo>
                    <a:pt x="68" y="72"/>
                    <a:pt x="68" y="73"/>
                    <a:pt x="69" y="73"/>
                  </a:cubicBezTo>
                  <a:cubicBezTo>
                    <a:pt x="70" y="73"/>
                    <a:pt x="70" y="74"/>
                    <a:pt x="70" y="75"/>
                  </a:cubicBezTo>
                  <a:close/>
                  <a:moveTo>
                    <a:pt x="70" y="71"/>
                  </a:moveTo>
                  <a:cubicBezTo>
                    <a:pt x="68" y="69"/>
                    <a:pt x="66" y="67"/>
                    <a:pt x="66" y="64"/>
                  </a:cubicBezTo>
                  <a:cubicBezTo>
                    <a:pt x="65" y="62"/>
                    <a:pt x="65" y="61"/>
                    <a:pt x="65" y="60"/>
                  </a:cubicBezTo>
                  <a:cubicBezTo>
                    <a:pt x="66" y="58"/>
                    <a:pt x="66" y="55"/>
                    <a:pt x="66" y="53"/>
                  </a:cubicBezTo>
                  <a:cubicBezTo>
                    <a:pt x="67" y="51"/>
                    <a:pt x="67" y="50"/>
                    <a:pt x="67" y="48"/>
                  </a:cubicBezTo>
                  <a:cubicBezTo>
                    <a:pt x="66" y="47"/>
                    <a:pt x="66" y="45"/>
                    <a:pt x="65" y="44"/>
                  </a:cubicBezTo>
                  <a:cubicBezTo>
                    <a:pt x="62" y="40"/>
                    <a:pt x="59" y="37"/>
                    <a:pt x="54" y="37"/>
                  </a:cubicBezTo>
                  <a:cubicBezTo>
                    <a:pt x="53" y="36"/>
                    <a:pt x="52" y="36"/>
                    <a:pt x="51" y="36"/>
                  </a:cubicBezTo>
                  <a:cubicBezTo>
                    <a:pt x="46" y="36"/>
                    <a:pt x="43" y="38"/>
                    <a:pt x="40" y="42"/>
                  </a:cubicBezTo>
                  <a:cubicBezTo>
                    <a:pt x="38" y="43"/>
                    <a:pt x="37" y="45"/>
                    <a:pt x="36" y="46"/>
                  </a:cubicBezTo>
                  <a:cubicBezTo>
                    <a:pt x="35" y="49"/>
                    <a:pt x="33" y="51"/>
                    <a:pt x="31" y="52"/>
                  </a:cubicBezTo>
                  <a:cubicBezTo>
                    <a:pt x="30" y="53"/>
                    <a:pt x="30" y="53"/>
                    <a:pt x="29" y="53"/>
                  </a:cubicBezTo>
                  <a:cubicBezTo>
                    <a:pt x="29" y="53"/>
                    <a:pt x="28" y="53"/>
                    <a:pt x="28" y="52"/>
                  </a:cubicBezTo>
                  <a:cubicBezTo>
                    <a:pt x="27" y="51"/>
                    <a:pt x="27" y="51"/>
                    <a:pt x="28" y="50"/>
                  </a:cubicBezTo>
                  <a:cubicBezTo>
                    <a:pt x="31" y="49"/>
                    <a:pt x="32" y="47"/>
                    <a:pt x="34" y="44"/>
                  </a:cubicBezTo>
                  <a:cubicBezTo>
                    <a:pt x="35" y="42"/>
                    <a:pt x="36" y="40"/>
                    <a:pt x="38" y="39"/>
                  </a:cubicBezTo>
                  <a:cubicBezTo>
                    <a:pt x="41" y="36"/>
                    <a:pt x="44" y="34"/>
                    <a:pt x="49" y="33"/>
                  </a:cubicBezTo>
                  <a:cubicBezTo>
                    <a:pt x="53" y="33"/>
                    <a:pt x="58" y="33"/>
                    <a:pt x="61" y="36"/>
                  </a:cubicBezTo>
                  <a:cubicBezTo>
                    <a:pt x="66" y="38"/>
                    <a:pt x="68" y="42"/>
                    <a:pt x="70" y="47"/>
                  </a:cubicBezTo>
                  <a:cubicBezTo>
                    <a:pt x="70" y="48"/>
                    <a:pt x="70" y="50"/>
                    <a:pt x="70" y="51"/>
                  </a:cubicBezTo>
                  <a:cubicBezTo>
                    <a:pt x="70" y="53"/>
                    <a:pt x="69" y="56"/>
                    <a:pt x="69" y="58"/>
                  </a:cubicBezTo>
                  <a:cubicBezTo>
                    <a:pt x="69" y="59"/>
                    <a:pt x="69" y="61"/>
                    <a:pt x="69" y="62"/>
                  </a:cubicBezTo>
                  <a:cubicBezTo>
                    <a:pt x="69" y="63"/>
                    <a:pt x="69" y="64"/>
                    <a:pt x="70" y="65"/>
                  </a:cubicBezTo>
                  <a:cubicBezTo>
                    <a:pt x="70" y="66"/>
                    <a:pt x="71" y="68"/>
                    <a:pt x="73" y="69"/>
                  </a:cubicBezTo>
                  <a:cubicBezTo>
                    <a:pt x="73" y="69"/>
                    <a:pt x="73" y="70"/>
                    <a:pt x="73" y="70"/>
                  </a:cubicBezTo>
                  <a:cubicBezTo>
                    <a:pt x="73" y="71"/>
                    <a:pt x="71" y="72"/>
                    <a:pt x="70" y="71"/>
                  </a:cubicBezTo>
                  <a:close/>
                  <a:moveTo>
                    <a:pt x="74" y="64"/>
                  </a:moveTo>
                  <a:cubicBezTo>
                    <a:pt x="74" y="64"/>
                    <a:pt x="73" y="65"/>
                    <a:pt x="73" y="65"/>
                  </a:cubicBezTo>
                  <a:cubicBezTo>
                    <a:pt x="72" y="65"/>
                    <a:pt x="71" y="65"/>
                    <a:pt x="71" y="64"/>
                  </a:cubicBezTo>
                  <a:cubicBezTo>
                    <a:pt x="71" y="63"/>
                    <a:pt x="71" y="63"/>
                    <a:pt x="71" y="63"/>
                  </a:cubicBezTo>
                  <a:cubicBezTo>
                    <a:pt x="72" y="60"/>
                    <a:pt x="72" y="57"/>
                    <a:pt x="72" y="54"/>
                  </a:cubicBezTo>
                  <a:cubicBezTo>
                    <a:pt x="72" y="51"/>
                    <a:pt x="72" y="49"/>
                    <a:pt x="71" y="47"/>
                  </a:cubicBezTo>
                  <a:cubicBezTo>
                    <a:pt x="71" y="46"/>
                    <a:pt x="71" y="46"/>
                    <a:pt x="71" y="46"/>
                  </a:cubicBezTo>
                  <a:cubicBezTo>
                    <a:pt x="70" y="45"/>
                    <a:pt x="71" y="44"/>
                    <a:pt x="71" y="44"/>
                  </a:cubicBezTo>
                  <a:cubicBezTo>
                    <a:pt x="72" y="43"/>
                    <a:pt x="73" y="44"/>
                    <a:pt x="74" y="44"/>
                  </a:cubicBezTo>
                  <a:cubicBezTo>
                    <a:pt x="74" y="46"/>
                    <a:pt x="74" y="47"/>
                    <a:pt x="75" y="48"/>
                  </a:cubicBezTo>
                  <a:cubicBezTo>
                    <a:pt x="75" y="50"/>
                    <a:pt x="75" y="52"/>
                    <a:pt x="75" y="54"/>
                  </a:cubicBezTo>
                  <a:cubicBezTo>
                    <a:pt x="75" y="57"/>
                    <a:pt x="75" y="60"/>
                    <a:pt x="74" y="6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grpSp>
        <p:nvGrpSpPr>
          <p:cNvPr id="83" name="Group 82">
            <a:extLst>
              <a:ext uri="{FF2B5EF4-FFF2-40B4-BE49-F238E27FC236}">
                <a16:creationId xmlns:a16="http://schemas.microsoft.com/office/drawing/2014/main" id="{70F8FA93-84D9-4B93-A67E-E58D93086D09}"/>
              </a:ext>
            </a:extLst>
          </p:cNvPr>
          <p:cNvGrpSpPr/>
          <p:nvPr/>
        </p:nvGrpSpPr>
        <p:grpSpPr>
          <a:xfrm>
            <a:off x="7478087" y="6034231"/>
            <a:ext cx="625630" cy="625630"/>
            <a:chOff x="7475312" y="6154733"/>
            <a:chExt cx="638175" cy="638175"/>
          </a:xfrm>
        </p:grpSpPr>
        <p:sp>
          <p:nvSpPr>
            <p:cNvPr id="52" name="Oval 51">
              <a:extLst>
                <a:ext uri="{FF2B5EF4-FFF2-40B4-BE49-F238E27FC236}">
                  <a16:creationId xmlns:a16="http://schemas.microsoft.com/office/drawing/2014/main" id="{48725E1A-D88E-497F-B24F-71CA593700F7}"/>
                </a:ext>
              </a:extLst>
            </p:cNvPr>
            <p:cNvSpPr/>
            <p:nvPr/>
          </p:nvSpPr>
          <p:spPr bwMode="auto">
            <a:xfrm>
              <a:off x="7475312" y="6154733"/>
              <a:ext cx="638175" cy="638175"/>
            </a:xfrm>
            <a:prstGeom prst="ellipse">
              <a:avLst/>
            </a:prstGeom>
            <a:solidFill>
              <a:schemeClr val="accent1"/>
            </a:solidFill>
            <a:ln w="19050" cap="rnd">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82C7944C-C911-4685-96E6-D3F2230722C8}"/>
                </a:ext>
              </a:extLst>
            </p:cNvPr>
            <p:cNvGrpSpPr/>
            <p:nvPr/>
          </p:nvGrpSpPr>
          <p:grpSpPr>
            <a:xfrm>
              <a:off x="7604491" y="6340330"/>
              <a:ext cx="391085" cy="307700"/>
              <a:chOff x="7635875" y="7645401"/>
              <a:chExt cx="528638" cy="415925"/>
            </a:xfrm>
            <a:solidFill>
              <a:schemeClr val="bg1"/>
            </a:solidFill>
          </p:grpSpPr>
          <p:sp>
            <p:nvSpPr>
              <p:cNvPr id="80" name="Freeform 34">
                <a:extLst>
                  <a:ext uri="{FF2B5EF4-FFF2-40B4-BE49-F238E27FC236}">
                    <a16:creationId xmlns:a16="http://schemas.microsoft.com/office/drawing/2014/main" id="{65B3C1BF-3F81-498E-9EBD-E7F151FDEFAE}"/>
                  </a:ext>
                </a:extLst>
              </p:cNvPr>
              <p:cNvSpPr>
                <a:spLocks noEditPoints="1"/>
              </p:cNvSpPr>
              <p:nvPr/>
            </p:nvSpPr>
            <p:spPr bwMode="auto">
              <a:xfrm>
                <a:off x="7635875" y="7645401"/>
                <a:ext cx="528638" cy="415925"/>
              </a:xfrm>
              <a:custGeom>
                <a:avLst/>
                <a:gdLst>
                  <a:gd name="T0" fmla="*/ 120 w 122"/>
                  <a:gd name="T1" fmla="*/ 0 h 95"/>
                  <a:gd name="T2" fmla="*/ 3 w 122"/>
                  <a:gd name="T3" fmla="*/ 0 h 95"/>
                  <a:gd name="T4" fmla="*/ 0 w 122"/>
                  <a:gd name="T5" fmla="*/ 3 h 95"/>
                  <a:gd name="T6" fmla="*/ 0 w 122"/>
                  <a:gd name="T7" fmla="*/ 74 h 95"/>
                  <a:gd name="T8" fmla="*/ 3 w 122"/>
                  <a:gd name="T9" fmla="*/ 77 h 95"/>
                  <a:gd name="T10" fmla="*/ 51 w 122"/>
                  <a:gd name="T11" fmla="*/ 77 h 95"/>
                  <a:gd name="T12" fmla="*/ 51 w 122"/>
                  <a:gd name="T13" fmla="*/ 90 h 95"/>
                  <a:gd name="T14" fmla="*/ 37 w 122"/>
                  <a:gd name="T15" fmla="*/ 90 h 95"/>
                  <a:gd name="T16" fmla="*/ 37 w 122"/>
                  <a:gd name="T17" fmla="*/ 95 h 95"/>
                  <a:gd name="T18" fmla="*/ 86 w 122"/>
                  <a:gd name="T19" fmla="*/ 95 h 95"/>
                  <a:gd name="T20" fmla="*/ 86 w 122"/>
                  <a:gd name="T21" fmla="*/ 90 h 95"/>
                  <a:gd name="T22" fmla="*/ 71 w 122"/>
                  <a:gd name="T23" fmla="*/ 90 h 95"/>
                  <a:gd name="T24" fmla="*/ 71 w 122"/>
                  <a:gd name="T25" fmla="*/ 77 h 95"/>
                  <a:gd name="T26" fmla="*/ 120 w 122"/>
                  <a:gd name="T27" fmla="*/ 77 h 95"/>
                  <a:gd name="T28" fmla="*/ 122 w 122"/>
                  <a:gd name="T29" fmla="*/ 74 h 95"/>
                  <a:gd name="T30" fmla="*/ 122 w 122"/>
                  <a:gd name="T31" fmla="*/ 3 h 95"/>
                  <a:gd name="T32" fmla="*/ 120 w 122"/>
                  <a:gd name="T33" fmla="*/ 0 h 95"/>
                  <a:gd name="T34" fmla="*/ 65 w 122"/>
                  <a:gd name="T35" fmla="*/ 82 h 95"/>
                  <a:gd name="T36" fmla="*/ 61 w 122"/>
                  <a:gd name="T37" fmla="*/ 86 h 95"/>
                  <a:gd name="T38" fmla="*/ 57 w 122"/>
                  <a:gd name="T39" fmla="*/ 82 h 95"/>
                  <a:gd name="T40" fmla="*/ 57 w 122"/>
                  <a:gd name="T41" fmla="*/ 77 h 95"/>
                  <a:gd name="T42" fmla="*/ 65 w 122"/>
                  <a:gd name="T43" fmla="*/ 77 h 95"/>
                  <a:gd name="T44" fmla="*/ 65 w 122"/>
                  <a:gd name="T45" fmla="*/ 82 h 95"/>
                  <a:gd name="T46" fmla="*/ 118 w 122"/>
                  <a:gd name="T47" fmla="*/ 73 h 95"/>
                  <a:gd name="T48" fmla="*/ 5 w 122"/>
                  <a:gd name="T49" fmla="*/ 73 h 95"/>
                  <a:gd name="T50" fmla="*/ 5 w 122"/>
                  <a:gd name="T51" fmla="*/ 4 h 95"/>
                  <a:gd name="T52" fmla="*/ 118 w 122"/>
                  <a:gd name="T53" fmla="*/ 4 h 95"/>
                  <a:gd name="T54" fmla="*/ 118 w 122"/>
                  <a:gd name="T55" fmla="*/ 7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2" h="95">
                    <a:moveTo>
                      <a:pt x="120" y="0"/>
                    </a:moveTo>
                    <a:cubicBezTo>
                      <a:pt x="3" y="0"/>
                      <a:pt x="3" y="0"/>
                      <a:pt x="3" y="0"/>
                    </a:cubicBezTo>
                    <a:cubicBezTo>
                      <a:pt x="1" y="0"/>
                      <a:pt x="0" y="2"/>
                      <a:pt x="0" y="3"/>
                    </a:cubicBezTo>
                    <a:cubicBezTo>
                      <a:pt x="0" y="74"/>
                      <a:pt x="0" y="74"/>
                      <a:pt x="0" y="74"/>
                    </a:cubicBezTo>
                    <a:cubicBezTo>
                      <a:pt x="0" y="76"/>
                      <a:pt x="1" y="77"/>
                      <a:pt x="3" y="77"/>
                    </a:cubicBezTo>
                    <a:cubicBezTo>
                      <a:pt x="51" y="77"/>
                      <a:pt x="51" y="77"/>
                      <a:pt x="51" y="77"/>
                    </a:cubicBezTo>
                    <a:cubicBezTo>
                      <a:pt x="51" y="90"/>
                      <a:pt x="51" y="90"/>
                      <a:pt x="51" y="90"/>
                    </a:cubicBezTo>
                    <a:cubicBezTo>
                      <a:pt x="37" y="90"/>
                      <a:pt x="37" y="90"/>
                      <a:pt x="37" y="90"/>
                    </a:cubicBezTo>
                    <a:cubicBezTo>
                      <a:pt x="37" y="95"/>
                      <a:pt x="37" y="95"/>
                      <a:pt x="37" y="95"/>
                    </a:cubicBezTo>
                    <a:cubicBezTo>
                      <a:pt x="86" y="95"/>
                      <a:pt x="86" y="95"/>
                      <a:pt x="86" y="95"/>
                    </a:cubicBezTo>
                    <a:cubicBezTo>
                      <a:pt x="86" y="90"/>
                      <a:pt x="86" y="90"/>
                      <a:pt x="86" y="90"/>
                    </a:cubicBezTo>
                    <a:cubicBezTo>
                      <a:pt x="71" y="90"/>
                      <a:pt x="71" y="90"/>
                      <a:pt x="71" y="90"/>
                    </a:cubicBezTo>
                    <a:cubicBezTo>
                      <a:pt x="71" y="77"/>
                      <a:pt x="71" y="77"/>
                      <a:pt x="71" y="77"/>
                    </a:cubicBezTo>
                    <a:cubicBezTo>
                      <a:pt x="120" y="77"/>
                      <a:pt x="120" y="77"/>
                      <a:pt x="120" y="77"/>
                    </a:cubicBezTo>
                    <a:cubicBezTo>
                      <a:pt x="121" y="77"/>
                      <a:pt x="122" y="76"/>
                      <a:pt x="122" y="74"/>
                    </a:cubicBezTo>
                    <a:cubicBezTo>
                      <a:pt x="122" y="3"/>
                      <a:pt x="122" y="3"/>
                      <a:pt x="122" y="3"/>
                    </a:cubicBezTo>
                    <a:cubicBezTo>
                      <a:pt x="122" y="2"/>
                      <a:pt x="121" y="0"/>
                      <a:pt x="120" y="0"/>
                    </a:cubicBezTo>
                    <a:close/>
                    <a:moveTo>
                      <a:pt x="65" y="82"/>
                    </a:moveTo>
                    <a:cubicBezTo>
                      <a:pt x="65" y="84"/>
                      <a:pt x="63" y="86"/>
                      <a:pt x="61" y="86"/>
                    </a:cubicBezTo>
                    <a:cubicBezTo>
                      <a:pt x="59" y="86"/>
                      <a:pt x="57" y="84"/>
                      <a:pt x="57" y="82"/>
                    </a:cubicBezTo>
                    <a:cubicBezTo>
                      <a:pt x="57" y="77"/>
                      <a:pt x="57" y="77"/>
                      <a:pt x="57" y="77"/>
                    </a:cubicBezTo>
                    <a:cubicBezTo>
                      <a:pt x="65" y="77"/>
                      <a:pt x="65" y="77"/>
                      <a:pt x="65" y="77"/>
                    </a:cubicBezTo>
                    <a:lnTo>
                      <a:pt x="65" y="82"/>
                    </a:lnTo>
                    <a:close/>
                    <a:moveTo>
                      <a:pt x="118" y="73"/>
                    </a:moveTo>
                    <a:cubicBezTo>
                      <a:pt x="5" y="73"/>
                      <a:pt x="5" y="73"/>
                      <a:pt x="5" y="73"/>
                    </a:cubicBezTo>
                    <a:cubicBezTo>
                      <a:pt x="5" y="4"/>
                      <a:pt x="5" y="4"/>
                      <a:pt x="5" y="4"/>
                    </a:cubicBezTo>
                    <a:cubicBezTo>
                      <a:pt x="118" y="4"/>
                      <a:pt x="118" y="4"/>
                      <a:pt x="118" y="4"/>
                    </a:cubicBezTo>
                    <a:lnTo>
                      <a:pt x="11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1" name="Freeform 35">
                <a:extLst>
                  <a:ext uri="{FF2B5EF4-FFF2-40B4-BE49-F238E27FC236}">
                    <a16:creationId xmlns:a16="http://schemas.microsoft.com/office/drawing/2014/main" id="{D52C0278-4968-4BD0-AA1C-6D4AD49DEDEB}"/>
                  </a:ext>
                </a:extLst>
              </p:cNvPr>
              <p:cNvSpPr>
                <a:spLocks noEditPoints="1"/>
              </p:cNvSpPr>
              <p:nvPr/>
            </p:nvSpPr>
            <p:spPr bwMode="auto">
              <a:xfrm>
                <a:off x="7700963" y="7689851"/>
                <a:ext cx="407988" cy="244475"/>
              </a:xfrm>
              <a:custGeom>
                <a:avLst/>
                <a:gdLst>
                  <a:gd name="T0" fmla="*/ 0 w 94"/>
                  <a:gd name="T1" fmla="*/ 0 h 56"/>
                  <a:gd name="T2" fmla="*/ 0 w 94"/>
                  <a:gd name="T3" fmla="*/ 56 h 56"/>
                  <a:gd name="T4" fmla="*/ 94 w 94"/>
                  <a:gd name="T5" fmla="*/ 56 h 56"/>
                  <a:gd name="T6" fmla="*/ 94 w 94"/>
                  <a:gd name="T7" fmla="*/ 0 h 56"/>
                  <a:gd name="T8" fmla="*/ 34 w 94"/>
                  <a:gd name="T9" fmla="*/ 10 h 56"/>
                  <a:gd name="T10" fmla="*/ 66 w 94"/>
                  <a:gd name="T11" fmla="*/ 10 h 56"/>
                  <a:gd name="T12" fmla="*/ 46 w 94"/>
                  <a:gd name="T13" fmla="*/ 14 h 56"/>
                  <a:gd name="T14" fmla="*/ 34 w 94"/>
                  <a:gd name="T15" fmla="*/ 10 h 56"/>
                  <a:gd name="T16" fmla="*/ 46 w 94"/>
                  <a:gd name="T17" fmla="*/ 18 h 56"/>
                  <a:gd name="T18" fmla="*/ 81 w 94"/>
                  <a:gd name="T19" fmla="*/ 22 h 56"/>
                  <a:gd name="T20" fmla="*/ 34 w 94"/>
                  <a:gd name="T21" fmla="*/ 22 h 56"/>
                  <a:gd name="T22" fmla="*/ 34 w 94"/>
                  <a:gd name="T23" fmla="*/ 26 h 56"/>
                  <a:gd name="T24" fmla="*/ 66 w 94"/>
                  <a:gd name="T25" fmla="*/ 26 h 56"/>
                  <a:gd name="T26" fmla="*/ 46 w 94"/>
                  <a:gd name="T27" fmla="*/ 29 h 56"/>
                  <a:gd name="T28" fmla="*/ 34 w 94"/>
                  <a:gd name="T29" fmla="*/ 26 h 56"/>
                  <a:gd name="T30" fmla="*/ 46 w 94"/>
                  <a:gd name="T31" fmla="*/ 33 h 56"/>
                  <a:gd name="T32" fmla="*/ 56 w 94"/>
                  <a:gd name="T33" fmla="*/ 37 h 56"/>
                  <a:gd name="T34" fmla="*/ 34 w 94"/>
                  <a:gd name="T35" fmla="*/ 37 h 56"/>
                  <a:gd name="T36" fmla="*/ 9 w 94"/>
                  <a:gd name="T37" fmla="*/ 39 h 56"/>
                  <a:gd name="T38" fmla="*/ 5 w 94"/>
                  <a:gd name="T39" fmla="*/ 35 h 56"/>
                  <a:gd name="T40" fmla="*/ 9 w 94"/>
                  <a:gd name="T41" fmla="*/ 39 h 56"/>
                  <a:gd name="T42" fmla="*/ 5 w 94"/>
                  <a:gd name="T43" fmla="*/ 31 h 56"/>
                  <a:gd name="T44" fmla="*/ 9 w 94"/>
                  <a:gd name="T45" fmla="*/ 27 h 56"/>
                  <a:gd name="T46" fmla="*/ 9 w 94"/>
                  <a:gd name="T47" fmla="*/ 24 h 56"/>
                  <a:gd name="T48" fmla="*/ 5 w 94"/>
                  <a:gd name="T49" fmla="*/ 20 h 56"/>
                  <a:gd name="T50" fmla="*/ 9 w 94"/>
                  <a:gd name="T51" fmla="*/ 24 h 56"/>
                  <a:gd name="T52" fmla="*/ 5 w 94"/>
                  <a:gd name="T53" fmla="*/ 17 h 56"/>
                  <a:gd name="T54" fmla="*/ 9 w 94"/>
                  <a:gd name="T55" fmla="*/ 13 h 56"/>
                  <a:gd name="T56" fmla="*/ 8 w 94"/>
                  <a:gd name="T57" fmla="*/ 7 h 56"/>
                  <a:gd name="T58" fmla="*/ 2 w 94"/>
                  <a:gd name="T59" fmla="*/ 5 h 56"/>
                  <a:gd name="T60" fmla="*/ 9 w 94"/>
                  <a:gd name="T61" fmla="*/ 5 h 56"/>
                  <a:gd name="T62" fmla="*/ 12 w 94"/>
                  <a:gd name="T63" fmla="*/ 7 h 56"/>
                  <a:gd name="T64" fmla="*/ 12 w 94"/>
                  <a:gd name="T65" fmla="*/ 2 h 56"/>
                  <a:gd name="T66" fmla="*/ 12 w 94"/>
                  <a:gd name="T67" fmla="*/ 7 h 56"/>
                  <a:gd name="T68" fmla="*/ 16 w 94"/>
                  <a:gd name="T69" fmla="*/ 53 h 56"/>
                  <a:gd name="T70" fmla="*/ 28 w 94"/>
                  <a:gd name="T71" fmla="*/ 8 h 56"/>
                  <a:gd name="T72" fmla="*/ 81 w 94"/>
                  <a:gd name="T73" fmla="*/ 52 h 56"/>
                  <a:gd name="T74" fmla="*/ 34 w 94"/>
                  <a:gd name="T75" fmla="*/ 52 h 56"/>
                  <a:gd name="T76" fmla="*/ 46 w 94"/>
                  <a:gd name="T77" fmla="*/ 48 h 56"/>
                  <a:gd name="T78" fmla="*/ 81 w 94"/>
                  <a:gd name="T79" fmla="*/ 52 h 56"/>
                  <a:gd name="T80" fmla="*/ 46 w 94"/>
                  <a:gd name="T81" fmla="*/ 45 h 56"/>
                  <a:gd name="T82" fmla="*/ 34 w 94"/>
                  <a:gd name="T83" fmla="*/ 41 h 56"/>
                  <a:gd name="T84" fmla="*/ 87 w 94"/>
                  <a:gd name="T85"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 h="56">
                    <a:moveTo>
                      <a:pt x="46" y="0"/>
                    </a:moveTo>
                    <a:cubicBezTo>
                      <a:pt x="0" y="0"/>
                      <a:pt x="0" y="0"/>
                      <a:pt x="0" y="0"/>
                    </a:cubicBezTo>
                    <a:cubicBezTo>
                      <a:pt x="0" y="7"/>
                      <a:pt x="0" y="7"/>
                      <a:pt x="0" y="7"/>
                    </a:cubicBezTo>
                    <a:cubicBezTo>
                      <a:pt x="0" y="56"/>
                      <a:pt x="0" y="56"/>
                      <a:pt x="0" y="56"/>
                    </a:cubicBezTo>
                    <a:cubicBezTo>
                      <a:pt x="46" y="56"/>
                      <a:pt x="46" y="56"/>
                      <a:pt x="46" y="56"/>
                    </a:cubicBezTo>
                    <a:cubicBezTo>
                      <a:pt x="94" y="56"/>
                      <a:pt x="94" y="56"/>
                      <a:pt x="94" y="56"/>
                    </a:cubicBezTo>
                    <a:cubicBezTo>
                      <a:pt x="94" y="7"/>
                      <a:pt x="94" y="7"/>
                      <a:pt x="94" y="7"/>
                    </a:cubicBezTo>
                    <a:cubicBezTo>
                      <a:pt x="94" y="0"/>
                      <a:pt x="94" y="0"/>
                      <a:pt x="94" y="0"/>
                    </a:cubicBezTo>
                    <a:lnTo>
                      <a:pt x="46" y="0"/>
                    </a:lnTo>
                    <a:close/>
                    <a:moveTo>
                      <a:pt x="34" y="10"/>
                    </a:moveTo>
                    <a:cubicBezTo>
                      <a:pt x="46" y="10"/>
                      <a:pt x="46" y="10"/>
                      <a:pt x="46" y="10"/>
                    </a:cubicBezTo>
                    <a:cubicBezTo>
                      <a:pt x="66" y="10"/>
                      <a:pt x="66" y="10"/>
                      <a:pt x="66" y="10"/>
                    </a:cubicBezTo>
                    <a:cubicBezTo>
                      <a:pt x="66" y="14"/>
                      <a:pt x="66" y="14"/>
                      <a:pt x="66" y="14"/>
                    </a:cubicBezTo>
                    <a:cubicBezTo>
                      <a:pt x="46" y="14"/>
                      <a:pt x="46" y="14"/>
                      <a:pt x="46" y="14"/>
                    </a:cubicBezTo>
                    <a:cubicBezTo>
                      <a:pt x="34" y="14"/>
                      <a:pt x="34" y="14"/>
                      <a:pt x="34" y="14"/>
                    </a:cubicBezTo>
                    <a:lnTo>
                      <a:pt x="34" y="10"/>
                    </a:lnTo>
                    <a:close/>
                    <a:moveTo>
                      <a:pt x="34" y="18"/>
                    </a:moveTo>
                    <a:cubicBezTo>
                      <a:pt x="46" y="18"/>
                      <a:pt x="46" y="18"/>
                      <a:pt x="46" y="18"/>
                    </a:cubicBezTo>
                    <a:cubicBezTo>
                      <a:pt x="81" y="18"/>
                      <a:pt x="81" y="18"/>
                      <a:pt x="81" y="18"/>
                    </a:cubicBezTo>
                    <a:cubicBezTo>
                      <a:pt x="81" y="22"/>
                      <a:pt x="81" y="22"/>
                      <a:pt x="81" y="22"/>
                    </a:cubicBezTo>
                    <a:cubicBezTo>
                      <a:pt x="46" y="22"/>
                      <a:pt x="46" y="22"/>
                      <a:pt x="46" y="22"/>
                    </a:cubicBezTo>
                    <a:cubicBezTo>
                      <a:pt x="34" y="22"/>
                      <a:pt x="34" y="22"/>
                      <a:pt x="34" y="22"/>
                    </a:cubicBezTo>
                    <a:lnTo>
                      <a:pt x="34" y="18"/>
                    </a:lnTo>
                    <a:close/>
                    <a:moveTo>
                      <a:pt x="34" y="26"/>
                    </a:moveTo>
                    <a:cubicBezTo>
                      <a:pt x="46" y="26"/>
                      <a:pt x="46" y="26"/>
                      <a:pt x="46" y="26"/>
                    </a:cubicBezTo>
                    <a:cubicBezTo>
                      <a:pt x="66" y="26"/>
                      <a:pt x="66" y="26"/>
                      <a:pt x="66" y="26"/>
                    </a:cubicBezTo>
                    <a:cubicBezTo>
                      <a:pt x="66" y="29"/>
                      <a:pt x="66" y="29"/>
                      <a:pt x="66" y="29"/>
                    </a:cubicBezTo>
                    <a:cubicBezTo>
                      <a:pt x="46" y="29"/>
                      <a:pt x="46" y="29"/>
                      <a:pt x="46" y="29"/>
                    </a:cubicBezTo>
                    <a:cubicBezTo>
                      <a:pt x="34" y="29"/>
                      <a:pt x="34" y="29"/>
                      <a:pt x="34" y="29"/>
                    </a:cubicBezTo>
                    <a:lnTo>
                      <a:pt x="34" y="26"/>
                    </a:lnTo>
                    <a:close/>
                    <a:moveTo>
                      <a:pt x="34" y="33"/>
                    </a:moveTo>
                    <a:cubicBezTo>
                      <a:pt x="46" y="33"/>
                      <a:pt x="46" y="33"/>
                      <a:pt x="46" y="33"/>
                    </a:cubicBezTo>
                    <a:cubicBezTo>
                      <a:pt x="56" y="33"/>
                      <a:pt x="56" y="33"/>
                      <a:pt x="56" y="33"/>
                    </a:cubicBezTo>
                    <a:cubicBezTo>
                      <a:pt x="56" y="37"/>
                      <a:pt x="56" y="37"/>
                      <a:pt x="56" y="37"/>
                    </a:cubicBezTo>
                    <a:cubicBezTo>
                      <a:pt x="46" y="37"/>
                      <a:pt x="46" y="37"/>
                      <a:pt x="46" y="37"/>
                    </a:cubicBezTo>
                    <a:cubicBezTo>
                      <a:pt x="34" y="37"/>
                      <a:pt x="34" y="37"/>
                      <a:pt x="34" y="37"/>
                    </a:cubicBezTo>
                    <a:lnTo>
                      <a:pt x="34" y="33"/>
                    </a:lnTo>
                    <a:close/>
                    <a:moveTo>
                      <a:pt x="9" y="39"/>
                    </a:moveTo>
                    <a:cubicBezTo>
                      <a:pt x="5" y="39"/>
                      <a:pt x="5" y="39"/>
                      <a:pt x="5" y="39"/>
                    </a:cubicBezTo>
                    <a:cubicBezTo>
                      <a:pt x="5" y="35"/>
                      <a:pt x="5" y="35"/>
                      <a:pt x="5" y="35"/>
                    </a:cubicBezTo>
                    <a:cubicBezTo>
                      <a:pt x="9" y="35"/>
                      <a:pt x="9" y="35"/>
                      <a:pt x="9" y="35"/>
                    </a:cubicBezTo>
                    <a:lnTo>
                      <a:pt x="9" y="39"/>
                    </a:lnTo>
                    <a:close/>
                    <a:moveTo>
                      <a:pt x="9" y="31"/>
                    </a:moveTo>
                    <a:cubicBezTo>
                      <a:pt x="5" y="31"/>
                      <a:pt x="5" y="31"/>
                      <a:pt x="5" y="31"/>
                    </a:cubicBezTo>
                    <a:cubicBezTo>
                      <a:pt x="5" y="27"/>
                      <a:pt x="5" y="27"/>
                      <a:pt x="5" y="27"/>
                    </a:cubicBezTo>
                    <a:cubicBezTo>
                      <a:pt x="9" y="27"/>
                      <a:pt x="9" y="27"/>
                      <a:pt x="9" y="27"/>
                    </a:cubicBezTo>
                    <a:lnTo>
                      <a:pt x="9" y="31"/>
                    </a:lnTo>
                    <a:close/>
                    <a:moveTo>
                      <a:pt x="9" y="24"/>
                    </a:moveTo>
                    <a:cubicBezTo>
                      <a:pt x="5" y="24"/>
                      <a:pt x="5" y="24"/>
                      <a:pt x="5" y="24"/>
                    </a:cubicBezTo>
                    <a:cubicBezTo>
                      <a:pt x="5" y="20"/>
                      <a:pt x="5" y="20"/>
                      <a:pt x="5" y="20"/>
                    </a:cubicBezTo>
                    <a:cubicBezTo>
                      <a:pt x="9" y="20"/>
                      <a:pt x="9" y="20"/>
                      <a:pt x="9" y="20"/>
                    </a:cubicBezTo>
                    <a:lnTo>
                      <a:pt x="9" y="24"/>
                    </a:lnTo>
                    <a:close/>
                    <a:moveTo>
                      <a:pt x="9" y="17"/>
                    </a:moveTo>
                    <a:cubicBezTo>
                      <a:pt x="5" y="17"/>
                      <a:pt x="5" y="17"/>
                      <a:pt x="5" y="17"/>
                    </a:cubicBezTo>
                    <a:cubicBezTo>
                      <a:pt x="5" y="13"/>
                      <a:pt x="5" y="13"/>
                      <a:pt x="5" y="13"/>
                    </a:cubicBezTo>
                    <a:cubicBezTo>
                      <a:pt x="9" y="13"/>
                      <a:pt x="9" y="13"/>
                      <a:pt x="9" y="13"/>
                    </a:cubicBezTo>
                    <a:lnTo>
                      <a:pt x="9" y="17"/>
                    </a:lnTo>
                    <a:close/>
                    <a:moveTo>
                      <a:pt x="8" y="7"/>
                    </a:moveTo>
                    <a:cubicBezTo>
                      <a:pt x="4" y="7"/>
                      <a:pt x="4" y="7"/>
                      <a:pt x="4" y="7"/>
                    </a:cubicBezTo>
                    <a:cubicBezTo>
                      <a:pt x="3" y="6"/>
                      <a:pt x="2" y="6"/>
                      <a:pt x="2" y="5"/>
                    </a:cubicBezTo>
                    <a:cubicBezTo>
                      <a:pt x="2" y="3"/>
                      <a:pt x="4" y="1"/>
                      <a:pt x="6" y="1"/>
                    </a:cubicBezTo>
                    <a:cubicBezTo>
                      <a:pt x="8" y="1"/>
                      <a:pt x="9" y="3"/>
                      <a:pt x="9" y="5"/>
                    </a:cubicBezTo>
                    <a:cubicBezTo>
                      <a:pt x="9" y="6"/>
                      <a:pt x="9" y="6"/>
                      <a:pt x="8" y="7"/>
                    </a:cubicBezTo>
                    <a:close/>
                    <a:moveTo>
                      <a:pt x="12" y="7"/>
                    </a:moveTo>
                    <a:cubicBezTo>
                      <a:pt x="11" y="7"/>
                      <a:pt x="10" y="6"/>
                      <a:pt x="10" y="4"/>
                    </a:cubicBezTo>
                    <a:cubicBezTo>
                      <a:pt x="10" y="3"/>
                      <a:pt x="11" y="2"/>
                      <a:pt x="12" y="2"/>
                    </a:cubicBezTo>
                    <a:cubicBezTo>
                      <a:pt x="14" y="2"/>
                      <a:pt x="15" y="3"/>
                      <a:pt x="15" y="4"/>
                    </a:cubicBezTo>
                    <a:cubicBezTo>
                      <a:pt x="15" y="6"/>
                      <a:pt x="14" y="7"/>
                      <a:pt x="12" y="7"/>
                    </a:cubicBezTo>
                    <a:close/>
                    <a:moveTo>
                      <a:pt x="28" y="53"/>
                    </a:moveTo>
                    <a:cubicBezTo>
                      <a:pt x="16" y="53"/>
                      <a:pt x="16" y="53"/>
                      <a:pt x="16" y="53"/>
                    </a:cubicBezTo>
                    <a:cubicBezTo>
                      <a:pt x="16" y="8"/>
                      <a:pt x="16" y="8"/>
                      <a:pt x="16" y="8"/>
                    </a:cubicBezTo>
                    <a:cubicBezTo>
                      <a:pt x="28" y="8"/>
                      <a:pt x="28" y="8"/>
                      <a:pt x="28" y="8"/>
                    </a:cubicBezTo>
                    <a:lnTo>
                      <a:pt x="28" y="53"/>
                    </a:lnTo>
                    <a:close/>
                    <a:moveTo>
                      <a:pt x="81" y="52"/>
                    </a:moveTo>
                    <a:cubicBezTo>
                      <a:pt x="46" y="52"/>
                      <a:pt x="46" y="52"/>
                      <a:pt x="46" y="52"/>
                    </a:cubicBezTo>
                    <a:cubicBezTo>
                      <a:pt x="34" y="52"/>
                      <a:pt x="34" y="52"/>
                      <a:pt x="34" y="52"/>
                    </a:cubicBezTo>
                    <a:cubicBezTo>
                      <a:pt x="34" y="48"/>
                      <a:pt x="34" y="48"/>
                      <a:pt x="34" y="48"/>
                    </a:cubicBezTo>
                    <a:cubicBezTo>
                      <a:pt x="46" y="48"/>
                      <a:pt x="46" y="48"/>
                      <a:pt x="46" y="48"/>
                    </a:cubicBezTo>
                    <a:cubicBezTo>
                      <a:pt x="81" y="48"/>
                      <a:pt x="81" y="48"/>
                      <a:pt x="81" y="48"/>
                    </a:cubicBezTo>
                    <a:lnTo>
                      <a:pt x="81" y="52"/>
                    </a:lnTo>
                    <a:close/>
                    <a:moveTo>
                      <a:pt x="87" y="45"/>
                    </a:moveTo>
                    <a:cubicBezTo>
                      <a:pt x="46" y="45"/>
                      <a:pt x="46" y="45"/>
                      <a:pt x="46" y="45"/>
                    </a:cubicBezTo>
                    <a:cubicBezTo>
                      <a:pt x="34" y="45"/>
                      <a:pt x="34" y="45"/>
                      <a:pt x="34" y="45"/>
                    </a:cubicBezTo>
                    <a:cubicBezTo>
                      <a:pt x="34" y="41"/>
                      <a:pt x="34" y="41"/>
                      <a:pt x="34" y="41"/>
                    </a:cubicBezTo>
                    <a:cubicBezTo>
                      <a:pt x="46" y="41"/>
                      <a:pt x="46" y="41"/>
                      <a:pt x="46" y="41"/>
                    </a:cubicBezTo>
                    <a:cubicBezTo>
                      <a:pt x="87" y="41"/>
                      <a:pt x="87" y="41"/>
                      <a:pt x="87" y="41"/>
                    </a:cubicBezTo>
                    <a:lnTo>
                      <a:pt x="87"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cxnSp>
        <p:nvCxnSpPr>
          <p:cNvPr id="85" name="Connector: Elbow 84">
            <a:extLst>
              <a:ext uri="{FF2B5EF4-FFF2-40B4-BE49-F238E27FC236}">
                <a16:creationId xmlns:a16="http://schemas.microsoft.com/office/drawing/2014/main" id="{2AD72126-4FB9-4617-9C92-C74AC3F28081}"/>
              </a:ext>
            </a:extLst>
          </p:cNvPr>
          <p:cNvCxnSpPr>
            <a:cxnSpLocks/>
            <a:stCxn id="50" idx="6"/>
          </p:cNvCxnSpPr>
          <p:nvPr/>
        </p:nvCxnSpPr>
        <p:spPr>
          <a:xfrm>
            <a:off x="6113159" y="4214350"/>
            <a:ext cx="1527290" cy="166162"/>
          </a:xfrm>
          <a:prstGeom prst="bentConnector3">
            <a:avLst>
              <a:gd name="adj1" fmla="val 32269"/>
            </a:avLst>
          </a:prstGeom>
          <a:ln w="19050" cap="rnd">
            <a:solidFill>
              <a:schemeClr val="bg1"/>
            </a:solidFill>
            <a:prstDash val="sys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DFABB2DC-DD87-4655-94A7-3829D911A80F}"/>
              </a:ext>
            </a:extLst>
          </p:cNvPr>
          <p:cNvCxnSpPr>
            <a:cxnSpLocks/>
          </p:cNvCxnSpPr>
          <p:nvPr/>
        </p:nvCxnSpPr>
        <p:spPr>
          <a:xfrm flipV="1">
            <a:off x="5991047" y="4585827"/>
            <a:ext cx="1660885" cy="976798"/>
          </a:xfrm>
          <a:prstGeom prst="bentConnector3">
            <a:avLst>
              <a:gd name="adj1" fmla="val 50000"/>
            </a:avLst>
          </a:prstGeom>
          <a:ln w="19050" cap="rnd">
            <a:solidFill>
              <a:schemeClr val="bg1"/>
            </a:solidFill>
            <a:prstDash val="sys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7BAEA9E1-10EC-4D1A-8A65-22B5800CE3DF}"/>
              </a:ext>
            </a:extLst>
          </p:cNvPr>
          <p:cNvCxnSpPr>
            <a:cxnSpLocks/>
            <a:stCxn id="52" idx="0"/>
          </p:cNvCxnSpPr>
          <p:nvPr/>
        </p:nvCxnSpPr>
        <p:spPr>
          <a:xfrm rot="5400000" flipH="1" flipV="1">
            <a:off x="7371191" y="5368648"/>
            <a:ext cx="1085295" cy="245873"/>
          </a:xfrm>
          <a:prstGeom prst="bentConnector3">
            <a:avLst/>
          </a:prstGeom>
          <a:ln w="19050" cap="rnd">
            <a:solidFill>
              <a:schemeClr val="bg1"/>
            </a:solidFill>
            <a:prstDash val="sys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1DF487DE-B3D6-4646-8135-F9DAB9B2E3D8}"/>
              </a:ext>
            </a:extLst>
          </p:cNvPr>
          <p:cNvCxnSpPr>
            <a:stCxn id="55" idx="2"/>
          </p:cNvCxnSpPr>
          <p:nvPr/>
        </p:nvCxnSpPr>
        <p:spPr>
          <a:xfrm rot="10800000">
            <a:off x="8488557" y="4661585"/>
            <a:ext cx="1165730" cy="235392"/>
          </a:xfrm>
          <a:prstGeom prst="bentConnector3">
            <a:avLst>
              <a:gd name="adj1" fmla="val 79638"/>
            </a:avLst>
          </a:prstGeom>
          <a:ln w="19050" cap="rnd">
            <a:solidFill>
              <a:schemeClr val="bg1"/>
            </a:solidFill>
            <a:prstDash val="sys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015EBE80-C6EE-4049-B76B-FF0EBF05D624}"/>
              </a:ext>
            </a:extLst>
          </p:cNvPr>
          <p:cNvCxnSpPr>
            <a:cxnSpLocks/>
            <a:stCxn id="53" idx="2"/>
          </p:cNvCxnSpPr>
          <p:nvPr/>
        </p:nvCxnSpPr>
        <p:spPr>
          <a:xfrm rot="10800000" flipV="1">
            <a:off x="8055274" y="3087908"/>
            <a:ext cx="435215" cy="742614"/>
          </a:xfrm>
          <a:prstGeom prst="bentConnector2">
            <a:avLst/>
          </a:prstGeom>
          <a:ln w="19050" cap="rnd">
            <a:solidFill>
              <a:schemeClr val="bg1"/>
            </a:solidFill>
            <a:prstDash val="sys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B67BF483-7F14-4D5E-9E05-03F3D90B35A2}"/>
              </a:ext>
            </a:extLst>
          </p:cNvPr>
          <p:cNvCxnSpPr>
            <a:stCxn id="54" idx="2"/>
          </p:cNvCxnSpPr>
          <p:nvPr/>
        </p:nvCxnSpPr>
        <p:spPr>
          <a:xfrm rot="10800000" flipV="1">
            <a:off x="8476639" y="4059642"/>
            <a:ext cx="1562662" cy="320870"/>
          </a:xfrm>
          <a:prstGeom prst="bentConnector3">
            <a:avLst/>
          </a:prstGeom>
          <a:ln w="19050" cap="rnd">
            <a:solidFill>
              <a:schemeClr val="bg1"/>
            </a:solidFill>
            <a:prstDash val="sysDot"/>
            <a:headEnd type="none"/>
            <a:tailEnd type="triangle" w="sm" len="sm"/>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134E72BE-1742-4B04-80ED-A30708CBA7B7}"/>
              </a:ext>
            </a:extLst>
          </p:cNvPr>
          <p:cNvGrpSpPr/>
          <p:nvPr/>
        </p:nvGrpSpPr>
        <p:grpSpPr>
          <a:xfrm>
            <a:off x="5487530" y="3901535"/>
            <a:ext cx="625630" cy="625630"/>
            <a:chOff x="5597565" y="3979272"/>
            <a:chExt cx="638175" cy="638175"/>
          </a:xfrm>
        </p:grpSpPr>
        <p:sp>
          <p:nvSpPr>
            <p:cNvPr id="50" name="Oval 49">
              <a:extLst>
                <a:ext uri="{FF2B5EF4-FFF2-40B4-BE49-F238E27FC236}">
                  <a16:creationId xmlns:a16="http://schemas.microsoft.com/office/drawing/2014/main" id="{C2631B29-F344-4105-A46C-61E1A618E5C9}"/>
                </a:ext>
              </a:extLst>
            </p:cNvPr>
            <p:cNvSpPr/>
            <p:nvPr/>
          </p:nvSpPr>
          <p:spPr bwMode="auto">
            <a:xfrm>
              <a:off x="5597565" y="3979272"/>
              <a:ext cx="638175" cy="638175"/>
            </a:xfrm>
            <a:prstGeom prst="ellipse">
              <a:avLst/>
            </a:prstGeom>
            <a:solidFill>
              <a:schemeClr val="accent1"/>
            </a:solidFill>
            <a:ln w="19050" cap="rnd">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09" name="Picture 108">
              <a:extLst>
                <a:ext uri="{FF2B5EF4-FFF2-40B4-BE49-F238E27FC236}">
                  <a16:creationId xmlns:a16="http://schemas.microsoft.com/office/drawing/2014/main" id="{269AFC55-D937-4E75-8359-6BF79A141AA1}"/>
                </a:ext>
              </a:extLst>
            </p:cNvPr>
            <p:cNvPicPr>
              <a:picLocks noChangeAspect="1"/>
            </p:cNvPicPr>
            <p:nvPr/>
          </p:nvPicPr>
          <p:blipFill>
            <a:blip r:embed="rId4"/>
            <a:stretch>
              <a:fillRect/>
            </a:stretch>
          </p:blipFill>
          <p:spPr>
            <a:xfrm>
              <a:off x="5780330" y="4168600"/>
              <a:ext cx="270649" cy="307889"/>
            </a:xfrm>
            <a:prstGeom prst="rect">
              <a:avLst/>
            </a:prstGeom>
          </p:spPr>
        </p:pic>
      </p:grpSp>
      <p:grpSp>
        <p:nvGrpSpPr>
          <p:cNvPr id="114" name="Group 113">
            <a:extLst>
              <a:ext uri="{FF2B5EF4-FFF2-40B4-BE49-F238E27FC236}">
                <a16:creationId xmlns:a16="http://schemas.microsoft.com/office/drawing/2014/main" id="{246691DD-83CB-42F2-9516-113A0BB09A12}"/>
              </a:ext>
            </a:extLst>
          </p:cNvPr>
          <p:cNvGrpSpPr/>
          <p:nvPr/>
        </p:nvGrpSpPr>
        <p:grpSpPr>
          <a:xfrm>
            <a:off x="9654285" y="4584162"/>
            <a:ext cx="625630" cy="625630"/>
            <a:chOff x="9847873" y="4675587"/>
            <a:chExt cx="638175" cy="638175"/>
          </a:xfrm>
        </p:grpSpPr>
        <p:sp>
          <p:nvSpPr>
            <p:cNvPr id="55" name="Oval 54">
              <a:extLst>
                <a:ext uri="{FF2B5EF4-FFF2-40B4-BE49-F238E27FC236}">
                  <a16:creationId xmlns:a16="http://schemas.microsoft.com/office/drawing/2014/main" id="{08E3451D-5D5C-4211-BA65-2B70F7312B4D}"/>
                </a:ext>
              </a:extLst>
            </p:cNvPr>
            <p:cNvSpPr/>
            <p:nvPr/>
          </p:nvSpPr>
          <p:spPr bwMode="auto">
            <a:xfrm>
              <a:off x="9847873" y="4675587"/>
              <a:ext cx="638175" cy="638175"/>
            </a:xfrm>
            <a:prstGeom prst="ellipse">
              <a:avLst/>
            </a:prstGeom>
            <a:solidFill>
              <a:schemeClr val="accent1"/>
            </a:solidFill>
            <a:ln w="19050" cap="rnd">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39">
              <a:extLst>
                <a:ext uri="{FF2B5EF4-FFF2-40B4-BE49-F238E27FC236}">
                  <a16:creationId xmlns:a16="http://schemas.microsoft.com/office/drawing/2014/main" id="{6699ED41-58A0-4DBA-87B3-B0AB4FE63A80}"/>
                </a:ext>
              </a:extLst>
            </p:cNvPr>
            <p:cNvSpPr>
              <a:spLocks noEditPoints="1"/>
            </p:cNvSpPr>
            <p:nvPr/>
          </p:nvSpPr>
          <p:spPr bwMode="auto">
            <a:xfrm>
              <a:off x="10025206" y="4846142"/>
              <a:ext cx="285627" cy="285627"/>
            </a:xfrm>
            <a:custGeom>
              <a:avLst/>
              <a:gdLst>
                <a:gd name="T0" fmla="*/ 173 w 272"/>
                <a:gd name="T1" fmla="*/ 47 h 272"/>
                <a:gd name="T2" fmla="*/ 151 w 272"/>
                <a:gd name="T3" fmla="*/ 47 h 272"/>
                <a:gd name="T4" fmla="*/ 151 w 272"/>
                <a:gd name="T5" fmla="*/ 80 h 272"/>
                <a:gd name="T6" fmla="*/ 121 w 272"/>
                <a:gd name="T7" fmla="*/ 80 h 272"/>
                <a:gd name="T8" fmla="*/ 121 w 272"/>
                <a:gd name="T9" fmla="*/ 47 h 272"/>
                <a:gd name="T10" fmla="*/ 96 w 272"/>
                <a:gd name="T11" fmla="*/ 47 h 272"/>
                <a:gd name="T12" fmla="*/ 135 w 272"/>
                <a:gd name="T13" fmla="*/ 0 h 272"/>
                <a:gd name="T14" fmla="*/ 173 w 272"/>
                <a:gd name="T15" fmla="*/ 47 h 272"/>
                <a:gd name="T16" fmla="*/ 173 w 272"/>
                <a:gd name="T17" fmla="*/ 47 h 272"/>
                <a:gd name="T18" fmla="*/ 173 w 272"/>
                <a:gd name="T19" fmla="*/ 47 h 272"/>
                <a:gd name="T20" fmla="*/ 80 w 272"/>
                <a:gd name="T21" fmla="*/ 143 h 272"/>
                <a:gd name="T22" fmla="*/ 52 w 272"/>
                <a:gd name="T23" fmla="*/ 143 h 272"/>
                <a:gd name="T24" fmla="*/ 52 w 272"/>
                <a:gd name="T25" fmla="*/ 176 h 272"/>
                <a:gd name="T26" fmla="*/ 25 w 272"/>
                <a:gd name="T27" fmla="*/ 176 h 272"/>
                <a:gd name="T28" fmla="*/ 25 w 272"/>
                <a:gd name="T29" fmla="*/ 143 h 272"/>
                <a:gd name="T30" fmla="*/ 0 w 272"/>
                <a:gd name="T31" fmla="*/ 143 h 272"/>
                <a:gd name="T32" fmla="*/ 38 w 272"/>
                <a:gd name="T33" fmla="*/ 96 h 272"/>
                <a:gd name="T34" fmla="*/ 80 w 272"/>
                <a:gd name="T35" fmla="*/ 143 h 272"/>
                <a:gd name="T36" fmla="*/ 80 w 272"/>
                <a:gd name="T37" fmla="*/ 143 h 272"/>
                <a:gd name="T38" fmla="*/ 80 w 272"/>
                <a:gd name="T39" fmla="*/ 143 h 272"/>
                <a:gd name="T40" fmla="*/ 80 w 272"/>
                <a:gd name="T41" fmla="*/ 192 h 272"/>
                <a:gd name="T42" fmla="*/ 0 w 272"/>
                <a:gd name="T43" fmla="*/ 192 h 272"/>
                <a:gd name="T44" fmla="*/ 0 w 272"/>
                <a:gd name="T45" fmla="*/ 272 h 272"/>
                <a:gd name="T46" fmla="*/ 80 w 272"/>
                <a:gd name="T47" fmla="*/ 272 h 272"/>
                <a:gd name="T48" fmla="*/ 80 w 272"/>
                <a:gd name="T49" fmla="*/ 192 h 272"/>
                <a:gd name="T50" fmla="*/ 80 w 272"/>
                <a:gd name="T51" fmla="*/ 192 h 272"/>
                <a:gd name="T52" fmla="*/ 80 w 272"/>
                <a:gd name="T53" fmla="*/ 192 h 272"/>
                <a:gd name="T54" fmla="*/ 272 w 272"/>
                <a:gd name="T55" fmla="*/ 192 h 272"/>
                <a:gd name="T56" fmla="*/ 192 w 272"/>
                <a:gd name="T57" fmla="*/ 192 h 272"/>
                <a:gd name="T58" fmla="*/ 192 w 272"/>
                <a:gd name="T59" fmla="*/ 272 h 272"/>
                <a:gd name="T60" fmla="*/ 272 w 272"/>
                <a:gd name="T61" fmla="*/ 272 h 272"/>
                <a:gd name="T62" fmla="*/ 272 w 272"/>
                <a:gd name="T63" fmla="*/ 192 h 272"/>
                <a:gd name="T64" fmla="*/ 272 w 272"/>
                <a:gd name="T65" fmla="*/ 192 h 272"/>
                <a:gd name="T66" fmla="*/ 272 w 272"/>
                <a:gd name="T67" fmla="*/ 192 h 272"/>
                <a:gd name="T68" fmla="*/ 272 w 272"/>
                <a:gd name="T69" fmla="*/ 0 h 272"/>
                <a:gd name="T70" fmla="*/ 192 w 272"/>
                <a:gd name="T71" fmla="*/ 0 h 272"/>
                <a:gd name="T72" fmla="*/ 192 w 272"/>
                <a:gd name="T73" fmla="*/ 80 h 272"/>
                <a:gd name="T74" fmla="*/ 272 w 272"/>
                <a:gd name="T75" fmla="*/ 80 h 272"/>
                <a:gd name="T76" fmla="*/ 272 w 272"/>
                <a:gd name="T77" fmla="*/ 0 h 272"/>
                <a:gd name="T78" fmla="*/ 272 w 272"/>
                <a:gd name="T79" fmla="*/ 0 h 272"/>
                <a:gd name="T80" fmla="*/ 272 w 272"/>
                <a:gd name="T81" fmla="*/ 0 h 272"/>
                <a:gd name="T82" fmla="*/ 272 w 272"/>
                <a:gd name="T83" fmla="*/ 96 h 272"/>
                <a:gd name="T84" fmla="*/ 192 w 272"/>
                <a:gd name="T85" fmla="*/ 96 h 272"/>
                <a:gd name="T86" fmla="*/ 192 w 272"/>
                <a:gd name="T87" fmla="*/ 176 h 272"/>
                <a:gd name="T88" fmla="*/ 272 w 272"/>
                <a:gd name="T89" fmla="*/ 176 h 272"/>
                <a:gd name="T90" fmla="*/ 272 w 272"/>
                <a:gd name="T91" fmla="*/ 96 h 272"/>
                <a:gd name="T92" fmla="*/ 272 w 272"/>
                <a:gd name="T93" fmla="*/ 96 h 272"/>
                <a:gd name="T94" fmla="*/ 272 w 272"/>
                <a:gd name="T95" fmla="*/ 96 h 272"/>
                <a:gd name="T96" fmla="*/ 173 w 272"/>
                <a:gd name="T97" fmla="*/ 96 h 272"/>
                <a:gd name="T98" fmla="*/ 96 w 272"/>
                <a:gd name="T99" fmla="*/ 96 h 272"/>
                <a:gd name="T100" fmla="*/ 96 w 272"/>
                <a:gd name="T101" fmla="*/ 176 h 272"/>
                <a:gd name="T102" fmla="*/ 173 w 272"/>
                <a:gd name="T103" fmla="*/ 176 h 272"/>
                <a:gd name="T104" fmla="*/ 173 w 272"/>
                <a:gd name="T105" fmla="*/ 96 h 272"/>
                <a:gd name="T106" fmla="*/ 173 w 272"/>
                <a:gd name="T107" fmla="*/ 96 h 272"/>
                <a:gd name="T108" fmla="*/ 173 w 272"/>
                <a:gd name="T109" fmla="*/ 96 h 272"/>
                <a:gd name="T110" fmla="*/ 173 w 272"/>
                <a:gd name="T111" fmla="*/ 192 h 272"/>
                <a:gd name="T112" fmla="*/ 96 w 272"/>
                <a:gd name="T113" fmla="*/ 192 h 272"/>
                <a:gd name="T114" fmla="*/ 96 w 272"/>
                <a:gd name="T115" fmla="*/ 272 h 272"/>
                <a:gd name="T116" fmla="*/ 173 w 272"/>
                <a:gd name="T117" fmla="*/ 272 h 272"/>
                <a:gd name="T118" fmla="*/ 173 w 272"/>
                <a:gd name="T119" fmla="*/ 192 h 272"/>
                <a:gd name="T120" fmla="*/ 173 w 272"/>
                <a:gd name="T121" fmla="*/ 192 h 272"/>
                <a:gd name="T122" fmla="*/ 173 w 272"/>
                <a:gd name="T123" fmla="*/ 19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272">
                  <a:moveTo>
                    <a:pt x="173" y="47"/>
                  </a:moveTo>
                  <a:lnTo>
                    <a:pt x="151" y="47"/>
                  </a:lnTo>
                  <a:lnTo>
                    <a:pt x="151" y="80"/>
                  </a:lnTo>
                  <a:lnTo>
                    <a:pt x="121" y="80"/>
                  </a:lnTo>
                  <a:lnTo>
                    <a:pt x="121" y="47"/>
                  </a:lnTo>
                  <a:lnTo>
                    <a:pt x="96" y="47"/>
                  </a:lnTo>
                  <a:lnTo>
                    <a:pt x="135" y="0"/>
                  </a:lnTo>
                  <a:lnTo>
                    <a:pt x="173" y="47"/>
                  </a:lnTo>
                  <a:lnTo>
                    <a:pt x="173" y="47"/>
                  </a:lnTo>
                  <a:lnTo>
                    <a:pt x="173" y="47"/>
                  </a:lnTo>
                  <a:close/>
                  <a:moveTo>
                    <a:pt x="80" y="143"/>
                  </a:moveTo>
                  <a:lnTo>
                    <a:pt x="52" y="143"/>
                  </a:lnTo>
                  <a:lnTo>
                    <a:pt x="52" y="176"/>
                  </a:lnTo>
                  <a:lnTo>
                    <a:pt x="25" y="176"/>
                  </a:lnTo>
                  <a:lnTo>
                    <a:pt x="25" y="143"/>
                  </a:lnTo>
                  <a:lnTo>
                    <a:pt x="0" y="143"/>
                  </a:lnTo>
                  <a:lnTo>
                    <a:pt x="38" y="96"/>
                  </a:lnTo>
                  <a:lnTo>
                    <a:pt x="80" y="143"/>
                  </a:lnTo>
                  <a:lnTo>
                    <a:pt x="80" y="143"/>
                  </a:lnTo>
                  <a:lnTo>
                    <a:pt x="80" y="143"/>
                  </a:lnTo>
                  <a:close/>
                  <a:moveTo>
                    <a:pt x="80" y="192"/>
                  </a:moveTo>
                  <a:lnTo>
                    <a:pt x="0" y="192"/>
                  </a:lnTo>
                  <a:lnTo>
                    <a:pt x="0" y="272"/>
                  </a:lnTo>
                  <a:lnTo>
                    <a:pt x="80" y="272"/>
                  </a:lnTo>
                  <a:lnTo>
                    <a:pt x="80" y="192"/>
                  </a:lnTo>
                  <a:lnTo>
                    <a:pt x="80" y="192"/>
                  </a:lnTo>
                  <a:lnTo>
                    <a:pt x="80" y="192"/>
                  </a:lnTo>
                  <a:close/>
                  <a:moveTo>
                    <a:pt x="272" y="192"/>
                  </a:moveTo>
                  <a:lnTo>
                    <a:pt x="192" y="192"/>
                  </a:lnTo>
                  <a:lnTo>
                    <a:pt x="192" y="272"/>
                  </a:lnTo>
                  <a:lnTo>
                    <a:pt x="272" y="272"/>
                  </a:lnTo>
                  <a:lnTo>
                    <a:pt x="272" y="192"/>
                  </a:lnTo>
                  <a:lnTo>
                    <a:pt x="272" y="192"/>
                  </a:lnTo>
                  <a:lnTo>
                    <a:pt x="272" y="192"/>
                  </a:lnTo>
                  <a:close/>
                  <a:moveTo>
                    <a:pt x="272" y="0"/>
                  </a:moveTo>
                  <a:lnTo>
                    <a:pt x="192" y="0"/>
                  </a:lnTo>
                  <a:lnTo>
                    <a:pt x="192" y="80"/>
                  </a:lnTo>
                  <a:lnTo>
                    <a:pt x="272" y="80"/>
                  </a:lnTo>
                  <a:lnTo>
                    <a:pt x="272" y="0"/>
                  </a:lnTo>
                  <a:lnTo>
                    <a:pt x="272" y="0"/>
                  </a:lnTo>
                  <a:lnTo>
                    <a:pt x="272" y="0"/>
                  </a:lnTo>
                  <a:close/>
                  <a:moveTo>
                    <a:pt x="272" y="96"/>
                  </a:moveTo>
                  <a:lnTo>
                    <a:pt x="192" y="96"/>
                  </a:lnTo>
                  <a:lnTo>
                    <a:pt x="192" y="176"/>
                  </a:lnTo>
                  <a:lnTo>
                    <a:pt x="272" y="176"/>
                  </a:lnTo>
                  <a:lnTo>
                    <a:pt x="272" y="96"/>
                  </a:lnTo>
                  <a:lnTo>
                    <a:pt x="272" y="96"/>
                  </a:lnTo>
                  <a:lnTo>
                    <a:pt x="272" y="96"/>
                  </a:lnTo>
                  <a:close/>
                  <a:moveTo>
                    <a:pt x="173" y="96"/>
                  </a:moveTo>
                  <a:lnTo>
                    <a:pt x="96" y="96"/>
                  </a:lnTo>
                  <a:lnTo>
                    <a:pt x="96" y="176"/>
                  </a:lnTo>
                  <a:lnTo>
                    <a:pt x="173" y="176"/>
                  </a:lnTo>
                  <a:lnTo>
                    <a:pt x="173" y="96"/>
                  </a:lnTo>
                  <a:lnTo>
                    <a:pt x="173" y="96"/>
                  </a:lnTo>
                  <a:lnTo>
                    <a:pt x="173" y="96"/>
                  </a:lnTo>
                  <a:close/>
                  <a:moveTo>
                    <a:pt x="173" y="192"/>
                  </a:moveTo>
                  <a:lnTo>
                    <a:pt x="96" y="192"/>
                  </a:lnTo>
                  <a:lnTo>
                    <a:pt x="96" y="272"/>
                  </a:lnTo>
                  <a:lnTo>
                    <a:pt x="173" y="272"/>
                  </a:lnTo>
                  <a:lnTo>
                    <a:pt x="173" y="192"/>
                  </a:lnTo>
                  <a:lnTo>
                    <a:pt x="173" y="192"/>
                  </a:lnTo>
                  <a:lnTo>
                    <a:pt x="173" y="1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72879472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547" y="-12727"/>
            <a:ext cx="12186813" cy="24741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5"/>
          <p:cNvSpPr>
            <a:spLocks/>
          </p:cNvSpPr>
          <p:nvPr/>
        </p:nvSpPr>
        <p:spPr bwMode="auto">
          <a:xfrm flipH="1">
            <a:off x="1735399" y="1073483"/>
            <a:ext cx="3641878" cy="1497950"/>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241" name="Freeform 9"/>
          <p:cNvSpPr>
            <a:spLocks/>
          </p:cNvSpPr>
          <p:nvPr/>
        </p:nvSpPr>
        <p:spPr bwMode="auto">
          <a:xfrm>
            <a:off x="225225" y="1981251"/>
            <a:ext cx="1001674" cy="548023"/>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12" name="Title 1"/>
          <p:cNvSpPr>
            <a:spLocks noGrp="1"/>
          </p:cNvSpPr>
          <p:nvPr>
            <p:ph type="title"/>
          </p:nvPr>
        </p:nvSpPr>
        <p:spPr>
          <a:xfrm>
            <a:off x="5274277" y="515619"/>
            <a:ext cx="6649977" cy="1350257"/>
          </a:xfrm>
        </p:spPr>
        <p:txBody>
          <a:bodyPr>
            <a:normAutofit fontScale="90000"/>
          </a:bodyPr>
          <a:lstStyle/>
          <a:p>
            <a:pPr algn="r"/>
            <a:r>
              <a:rPr lang="en-US" sz="5996" dirty="0"/>
              <a:t>Integrate partner solutions</a:t>
            </a:r>
          </a:p>
        </p:txBody>
      </p:sp>
      <p:sp>
        <p:nvSpPr>
          <p:cNvPr id="13" name="Rectangle 12"/>
          <p:cNvSpPr/>
          <p:nvPr/>
        </p:nvSpPr>
        <p:spPr bwMode="auto">
          <a:xfrm>
            <a:off x="268415" y="2864213"/>
            <a:ext cx="11878452" cy="3254062"/>
          </a:xfrm>
          <a:prstGeom prst="rect">
            <a:avLst/>
          </a:prstGeom>
          <a:noFill/>
          <a:ln w="9525" cap="flat" cmpd="sng" algn="ctr">
            <a:noFill/>
            <a:prstDash val="solid"/>
            <a:headEnd type="none" w="med" len="med"/>
            <a:tailEnd type="none" w="med" len="med"/>
          </a:ln>
          <a:effectLst/>
        </p:spPr>
        <p:txBody>
          <a:bodyPr lIns="179208" tIns="143366" rIns="179208" bIns="143366"/>
          <a:lstStyle/>
          <a:p>
            <a:pPr defTabSz="913782">
              <a:spcBef>
                <a:spcPts val="1176"/>
              </a:spcBef>
              <a:spcAft>
                <a:spcPts val="588"/>
              </a:spcAft>
              <a:buClr>
                <a:srgbClr val="FFFFFF"/>
              </a:buClr>
            </a:pPr>
            <a:r>
              <a:rPr lang="en-US" sz="2353" b="1" dirty="0">
                <a:solidFill>
                  <a:srgbClr val="505050"/>
                </a:solidFill>
                <a:latin typeface="Segoe Pro Semibold"/>
              </a:rPr>
              <a:t>Recommends and streamlines provisioning </a:t>
            </a:r>
            <a:r>
              <a:rPr lang="en-US" sz="2353" dirty="0">
                <a:solidFill>
                  <a:srgbClr val="505050"/>
                </a:solidFill>
              </a:rPr>
              <a:t>of partner solutions</a:t>
            </a:r>
          </a:p>
          <a:p>
            <a:pPr defTabSz="913782">
              <a:spcBef>
                <a:spcPts val="1176"/>
              </a:spcBef>
              <a:spcAft>
                <a:spcPts val="588"/>
              </a:spcAft>
              <a:buClr>
                <a:srgbClr val="FFFFFF"/>
              </a:buClr>
            </a:pPr>
            <a:r>
              <a:rPr lang="en-US" sz="2353" b="1" dirty="0">
                <a:solidFill>
                  <a:srgbClr val="505050"/>
                </a:solidFill>
                <a:latin typeface="Segoe Pro Semibold"/>
              </a:rPr>
              <a:t>Integrates signals </a:t>
            </a:r>
            <a:r>
              <a:rPr lang="en-US" sz="2353" dirty="0">
                <a:solidFill>
                  <a:srgbClr val="505050"/>
                </a:solidFill>
              </a:rPr>
              <a:t>for centralized alerting and advanced detection, including fusion</a:t>
            </a:r>
          </a:p>
          <a:p>
            <a:pPr defTabSz="913782">
              <a:spcBef>
                <a:spcPts val="1176"/>
              </a:spcBef>
              <a:spcAft>
                <a:spcPts val="588"/>
              </a:spcAft>
              <a:buClr>
                <a:srgbClr val="FFFFFF"/>
              </a:buClr>
            </a:pPr>
            <a:r>
              <a:rPr lang="en-US" sz="2353" b="1" dirty="0">
                <a:solidFill>
                  <a:srgbClr val="505050"/>
                </a:solidFill>
                <a:latin typeface="Segoe Pro Semibold"/>
              </a:rPr>
              <a:t>Leverages Azure Marketplace </a:t>
            </a:r>
            <a:r>
              <a:rPr lang="en-US" sz="2353" dirty="0">
                <a:solidFill>
                  <a:srgbClr val="505050"/>
                </a:solidFill>
              </a:rPr>
              <a:t>for commerce and billing</a:t>
            </a:r>
          </a:p>
          <a:p>
            <a:pPr defTabSz="913782">
              <a:spcBef>
                <a:spcPts val="1176"/>
              </a:spcBef>
              <a:spcAft>
                <a:spcPts val="588"/>
              </a:spcAft>
              <a:buClr>
                <a:srgbClr val="FFFFFF"/>
              </a:buClr>
            </a:pPr>
            <a:r>
              <a:rPr lang="en-US" sz="2353" b="1" dirty="0">
                <a:solidFill>
                  <a:srgbClr val="505050"/>
                </a:solidFill>
                <a:latin typeface="Segoe Pro Semibold"/>
              </a:rPr>
              <a:t>Closes security gaps </a:t>
            </a:r>
            <a:r>
              <a:rPr lang="en-US" sz="2353" dirty="0">
                <a:solidFill>
                  <a:srgbClr val="505050"/>
                </a:solidFill>
              </a:rPr>
              <a:t>created by disconnected point solutions</a:t>
            </a:r>
          </a:p>
        </p:txBody>
      </p:sp>
      <p:grpSp>
        <p:nvGrpSpPr>
          <p:cNvPr id="14" name="Group 13"/>
          <p:cNvGrpSpPr/>
          <p:nvPr/>
        </p:nvGrpSpPr>
        <p:grpSpPr>
          <a:xfrm>
            <a:off x="793023" y="658852"/>
            <a:ext cx="2170822" cy="2188945"/>
            <a:chOff x="9258993" y="1716870"/>
            <a:chExt cx="2461366" cy="2481914"/>
          </a:xfrm>
        </p:grpSpPr>
        <p:sp>
          <p:nvSpPr>
            <p:cNvPr id="15" name="Oval 14"/>
            <p:cNvSpPr/>
            <p:nvPr/>
          </p:nvSpPr>
          <p:spPr bwMode="auto">
            <a:xfrm>
              <a:off x="9258993" y="1716870"/>
              <a:ext cx="2454122" cy="2454122"/>
            </a:xfrm>
            <a:prstGeom prst="ellipse">
              <a:avLst/>
            </a:prstGeom>
            <a:solidFill>
              <a:schemeClr val="bg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bwMode="auto">
            <a:xfrm>
              <a:off x="9266237" y="1744662"/>
              <a:ext cx="2454122" cy="2454122"/>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w="984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Group 30"/>
          <p:cNvGrpSpPr/>
          <p:nvPr/>
        </p:nvGrpSpPr>
        <p:grpSpPr>
          <a:xfrm>
            <a:off x="33027" y="5541848"/>
            <a:ext cx="12188542" cy="1152853"/>
            <a:chOff x="883" y="5817892"/>
            <a:chExt cx="12434711" cy="1176136"/>
          </a:xfrm>
        </p:grpSpPr>
        <p:sp>
          <p:nvSpPr>
            <p:cNvPr id="32" name="Rectangle 31"/>
            <p:cNvSpPr/>
            <p:nvPr/>
          </p:nvSpPr>
          <p:spPr bwMode="auto">
            <a:xfrm>
              <a:off x="883" y="5817892"/>
              <a:ext cx="12434711" cy="117613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1899519" y="5893459"/>
              <a:ext cx="8068582" cy="910292"/>
              <a:chOff x="74277" y="5990143"/>
              <a:chExt cx="8069727" cy="910421"/>
            </a:xfrm>
          </p:grpSpPr>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18357" y="6083557"/>
                <a:ext cx="1157252" cy="277742"/>
              </a:xfrm>
              <a:prstGeom prst="rect">
                <a:avLst/>
              </a:prstGeom>
            </p:spPr>
          </p:pic>
          <p:grpSp>
            <p:nvGrpSpPr>
              <p:cNvPr id="37" name="Group 36"/>
              <p:cNvGrpSpPr/>
              <p:nvPr/>
            </p:nvGrpSpPr>
            <p:grpSpPr>
              <a:xfrm>
                <a:off x="3925035" y="6605337"/>
                <a:ext cx="1440037" cy="295227"/>
                <a:chOff x="3619588" y="2361451"/>
                <a:chExt cx="8099724" cy="1660550"/>
              </a:xfrm>
            </p:grpSpPr>
            <p:pic>
              <p:nvPicPr>
                <p:cNvPr id="44" name="Picture 43"/>
                <p:cNvPicPr>
                  <a:picLocks noChangeAspect="1"/>
                </p:cNvPicPr>
                <p:nvPr/>
              </p:nvPicPr>
              <p:blipFill rotWithShape="1">
                <a:blip r:embed="rId5" cstate="print">
                  <a:extLst>
                    <a:ext uri="{28A0092B-C50C-407E-A947-70E740481C1C}">
                      <a14:useLocalDpi xmlns:a14="http://schemas.microsoft.com/office/drawing/2010/main" val="0"/>
                    </a:ext>
                  </a:extLst>
                </a:blip>
                <a:srcRect l="14897" t="3511" r="18809" b="33330"/>
                <a:stretch/>
              </p:blipFill>
              <p:spPr>
                <a:xfrm>
                  <a:off x="3619588" y="2361451"/>
                  <a:ext cx="3233314" cy="1660550"/>
                </a:xfrm>
                <a:prstGeom prst="rect">
                  <a:avLst/>
                </a:prstGeom>
              </p:spPr>
            </p:pic>
            <p:pic>
              <p:nvPicPr>
                <p:cNvPr id="45" name="Picture 44"/>
                <p:cNvPicPr>
                  <a:picLocks noChangeAspect="1"/>
                </p:cNvPicPr>
                <p:nvPr/>
              </p:nvPicPr>
              <p:blipFill rotWithShape="1">
                <a:blip r:embed="rId6" cstate="print">
                  <a:extLst>
                    <a:ext uri="{28A0092B-C50C-407E-A947-70E740481C1C}">
                      <a14:useLocalDpi xmlns:a14="http://schemas.microsoft.com/office/drawing/2010/main" val="0"/>
                    </a:ext>
                  </a:extLst>
                </a:blip>
                <a:srcRect l="281" t="68726" r="126" b="11519"/>
                <a:stretch/>
              </p:blipFill>
              <p:spPr>
                <a:xfrm>
                  <a:off x="6862019" y="3152559"/>
                  <a:ext cx="4857293" cy="519382"/>
                </a:xfrm>
                <a:prstGeom prst="rect">
                  <a:avLst/>
                </a:prstGeom>
              </p:spPr>
            </p:pic>
          </p:grpSp>
          <p:pic>
            <p:nvPicPr>
              <p:cNvPr id="39" name="Picture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277" y="6066573"/>
                <a:ext cx="480590" cy="442896"/>
              </a:xfrm>
              <a:prstGeom prst="rect">
                <a:avLst/>
              </a:prstGeom>
            </p:spPr>
          </p:pic>
          <p:pic>
            <p:nvPicPr>
              <p:cNvPr id="40" name="Picture 39"/>
              <p:cNvPicPr>
                <a:picLocks noChangeAspect="1"/>
              </p:cNvPicPr>
              <p:nvPr/>
            </p:nvPicPr>
            <p:blipFill>
              <a:blip r:embed="rId8"/>
              <a:stretch>
                <a:fillRect/>
              </a:stretch>
            </p:blipFill>
            <p:spPr>
              <a:xfrm>
                <a:off x="4876234" y="6185687"/>
                <a:ext cx="1315563" cy="221946"/>
              </a:xfrm>
              <a:prstGeom prst="rect">
                <a:avLst/>
              </a:prstGeom>
            </p:spPr>
          </p:pic>
          <p:pic>
            <p:nvPicPr>
              <p:cNvPr id="41" name="Picture 40"/>
              <p:cNvPicPr>
                <a:picLocks noChangeAspect="1"/>
              </p:cNvPicPr>
              <p:nvPr/>
            </p:nvPicPr>
            <p:blipFill>
              <a:blip r:embed="rId9"/>
              <a:stretch>
                <a:fillRect/>
              </a:stretch>
            </p:blipFill>
            <p:spPr>
              <a:xfrm>
                <a:off x="2334368" y="6687142"/>
                <a:ext cx="1157284" cy="140234"/>
              </a:xfrm>
              <a:prstGeom prst="rect">
                <a:avLst/>
              </a:prstGeom>
            </p:spPr>
          </p:pic>
          <p:pic>
            <p:nvPicPr>
              <p:cNvPr id="42" name="Picture 41"/>
              <p:cNvPicPr>
                <a:picLocks noChangeAspect="1"/>
              </p:cNvPicPr>
              <p:nvPr/>
            </p:nvPicPr>
            <p:blipFill>
              <a:blip r:embed="rId10"/>
              <a:stretch>
                <a:fillRect/>
              </a:stretch>
            </p:blipFill>
            <p:spPr>
              <a:xfrm>
                <a:off x="3331801" y="6087004"/>
                <a:ext cx="741792" cy="391031"/>
              </a:xfrm>
              <a:prstGeom prst="rect">
                <a:avLst/>
              </a:prstGeom>
            </p:spPr>
          </p:pic>
          <p:pic>
            <p:nvPicPr>
              <p:cNvPr id="43" name="Picture 42"/>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5287" y="5990143"/>
                <a:ext cx="1088717" cy="490990"/>
              </a:xfrm>
              <a:prstGeom prst="rect">
                <a:avLst/>
              </a:prstGeom>
            </p:spPr>
          </p:pic>
        </p:grpSp>
        <p:pic>
          <p:nvPicPr>
            <p:cNvPr id="34" name="Picture 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63641" y="6381282"/>
              <a:ext cx="1780638" cy="461179"/>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354747" y="6412711"/>
              <a:ext cx="1448089" cy="454458"/>
            </a:xfrm>
            <a:prstGeom prst="rect">
              <a:avLst/>
            </a:prstGeom>
          </p:spPr>
        </p:pic>
      </p:grpSp>
      <p:cxnSp>
        <p:nvCxnSpPr>
          <p:cNvPr id="3" name="Straight Connector 2"/>
          <p:cNvCxnSpPr/>
          <p:nvPr/>
        </p:nvCxnSpPr>
        <p:spPr>
          <a:xfrm>
            <a:off x="1" y="5296552"/>
            <a:ext cx="12203912" cy="0"/>
          </a:xfrm>
          <a:prstGeom prst="line">
            <a:avLst/>
          </a:prstGeom>
          <a:ln>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639391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EF7BE-FA3F-465B-9CAC-0D5E970A9A2C}"/>
              </a:ext>
            </a:extLst>
          </p:cNvPr>
          <p:cNvSpPr>
            <a:spLocks noGrp="1"/>
          </p:cNvSpPr>
          <p:nvPr>
            <p:ph type="title"/>
          </p:nvPr>
        </p:nvSpPr>
        <p:spPr/>
        <p:txBody>
          <a:bodyPr/>
          <a:lstStyle/>
          <a:p>
            <a:r>
              <a:rPr lang="en-US" dirty="0"/>
              <a:t>Agenda</a:t>
            </a:r>
            <a:endParaRPr lang="en-IN" dirty="0"/>
          </a:p>
        </p:txBody>
      </p:sp>
      <p:sp>
        <p:nvSpPr>
          <p:cNvPr id="3" name="Content Placeholder 2">
            <a:extLst>
              <a:ext uri="{FF2B5EF4-FFF2-40B4-BE49-F238E27FC236}">
                <a16:creationId xmlns:a16="http://schemas.microsoft.com/office/drawing/2014/main" id="{56C4B2DF-017A-4C85-A6DF-E3FAF102EAF8}"/>
              </a:ext>
            </a:extLst>
          </p:cNvPr>
          <p:cNvSpPr>
            <a:spLocks noGrp="1"/>
          </p:cNvSpPr>
          <p:nvPr>
            <p:ph idx="1"/>
          </p:nvPr>
        </p:nvSpPr>
        <p:spPr/>
        <p:txBody>
          <a:bodyPr/>
          <a:lstStyle/>
          <a:p>
            <a:r>
              <a:rPr lang="en-US" dirty="0"/>
              <a:t>A Modern Enterprise</a:t>
            </a:r>
          </a:p>
          <a:p>
            <a:r>
              <a:rPr lang="en-US" dirty="0"/>
              <a:t>Challenges Faced</a:t>
            </a:r>
          </a:p>
          <a:p>
            <a:r>
              <a:rPr lang="en-US" dirty="0"/>
              <a:t>Need for Azure Governance</a:t>
            </a:r>
          </a:p>
          <a:p>
            <a:r>
              <a:rPr lang="en-US" dirty="0"/>
              <a:t>The Governance Scaffolding</a:t>
            </a:r>
          </a:p>
          <a:p>
            <a:r>
              <a:rPr lang="en-US" dirty="0"/>
              <a:t>Understand the Security Landscape</a:t>
            </a:r>
          </a:p>
          <a:p>
            <a:pPr lvl="1"/>
            <a:r>
              <a:rPr lang="en-US" dirty="0"/>
              <a:t>Components of Azure Security Model</a:t>
            </a:r>
          </a:p>
          <a:p>
            <a:r>
              <a:rPr lang="en-US" dirty="0"/>
              <a:t>Unified Security Management - Azure Security Center</a:t>
            </a:r>
          </a:p>
          <a:p>
            <a:pPr lvl="1"/>
            <a:r>
              <a:rPr lang="en-US" dirty="0"/>
              <a:t>Unified Visibility</a:t>
            </a:r>
          </a:p>
          <a:p>
            <a:pPr lvl="1"/>
            <a:r>
              <a:rPr lang="en-US" dirty="0"/>
              <a:t>Advanced Threat Prevention</a:t>
            </a:r>
          </a:p>
          <a:p>
            <a:pPr lvl="1"/>
            <a:r>
              <a:rPr lang="en-US" dirty="0"/>
              <a:t>Intelligent Detection &amp; Response </a:t>
            </a:r>
          </a:p>
          <a:p>
            <a:r>
              <a:rPr lang="en-IN" dirty="0"/>
              <a:t>Security Implementation Process</a:t>
            </a:r>
          </a:p>
        </p:txBody>
      </p:sp>
    </p:spTree>
    <p:extLst>
      <p:ext uri="{BB962C8B-B14F-4D97-AF65-F5344CB8AC3E}">
        <p14:creationId xmlns:p14="http://schemas.microsoft.com/office/powerpoint/2010/main" val="29332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Azure Security Center</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Governance Implementation</a:t>
            </a:r>
            <a:endParaRPr lang="en-IN" dirty="0"/>
          </a:p>
        </p:txBody>
      </p:sp>
    </p:spTree>
    <p:extLst>
      <p:ext uri="{BB962C8B-B14F-4D97-AF65-F5344CB8AC3E}">
        <p14:creationId xmlns:p14="http://schemas.microsoft.com/office/powerpoint/2010/main" val="382803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866" y="974"/>
            <a:ext cx="4329983" cy="68560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Isosceles Triangle 4"/>
          <p:cNvSpPr/>
          <p:nvPr/>
        </p:nvSpPr>
        <p:spPr bwMode="auto">
          <a:xfrm>
            <a:off x="969016" y="974"/>
            <a:ext cx="6723665" cy="6856055"/>
          </a:xfrm>
          <a:prstGeom prs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2"/>
          <p:cNvSpPr/>
          <p:nvPr/>
        </p:nvSpPr>
        <p:spPr bwMode="auto">
          <a:xfrm>
            <a:off x="865" y="-90955"/>
            <a:ext cx="12203438" cy="6917580"/>
          </a:xfrm>
          <a:custGeom>
            <a:avLst/>
            <a:gdLst>
              <a:gd name="connsiteX0" fmla="*/ 0 w 12449908"/>
              <a:gd name="connsiteY0" fmla="*/ 0 h 7057293"/>
              <a:gd name="connsiteX1" fmla="*/ 0 w 12449908"/>
              <a:gd name="connsiteY1" fmla="*/ 0 h 7057293"/>
              <a:gd name="connsiteX2" fmla="*/ 70338 w 12449908"/>
              <a:gd name="connsiteY2" fmla="*/ 515816 h 7057293"/>
              <a:gd name="connsiteX3" fmla="*/ 187569 w 12449908"/>
              <a:gd name="connsiteY3" fmla="*/ 703385 h 7057293"/>
              <a:gd name="connsiteX4" fmla="*/ 257908 w 12449908"/>
              <a:gd name="connsiteY4" fmla="*/ 937847 h 7057293"/>
              <a:gd name="connsiteX5" fmla="*/ 328246 w 12449908"/>
              <a:gd name="connsiteY5" fmla="*/ 1055077 h 7057293"/>
              <a:gd name="connsiteX6" fmla="*/ 351692 w 12449908"/>
              <a:gd name="connsiteY6" fmla="*/ 1125416 h 7057293"/>
              <a:gd name="connsiteX7" fmla="*/ 398585 w 12449908"/>
              <a:gd name="connsiteY7" fmla="*/ 1219200 h 7057293"/>
              <a:gd name="connsiteX8" fmla="*/ 375138 w 12449908"/>
              <a:gd name="connsiteY8" fmla="*/ 2321170 h 7057293"/>
              <a:gd name="connsiteX9" fmla="*/ 351692 w 12449908"/>
              <a:gd name="connsiteY9" fmla="*/ 2508739 h 7057293"/>
              <a:gd name="connsiteX10" fmla="*/ 304800 w 12449908"/>
              <a:gd name="connsiteY10" fmla="*/ 2625970 h 7057293"/>
              <a:gd name="connsiteX11" fmla="*/ 281354 w 12449908"/>
              <a:gd name="connsiteY11" fmla="*/ 2696308 h 7057293"/>
              <a:gd name="connsiteX12" fmla="*/ 257908 w 12449908"/>
              <a:gd name="connsiteY12" fmla="*/ 2813539 h 7057293"/>
              <a:gd name="connsiteX13" fmla="*/ 187569 w 12449908"/>
              <a:gd name="connsiteY13" fmla="*/ 2977662 h 7057293"/>
              <a:gd name="connsiteX14" fmla="*/ 140677 w 12449908"/>
              <a:gd name="connsiteY14" fmla="*/ 3235570 h 7057293"/>
              <a:gd name="connsiteX15" fmla="*/ 93785 w 12449908"/>
              <a:gd name="connsiteY15" fmla="*/ 3446585 h 7057293"/>
              <a:gd name="connsiteX16" fmla="*/ 46892 w 12449908"/>
              <a:gd name="connsiteY16" fmla="*/ 4267200 h 7057293"/>
              <a:gd name="connsiteX17" fmla="*/ 70338 w 12449908"/>
              <a:gd name="connsiteY17" fmla="*/ 5322277 h 7057293"/>
              <a:gd name="connsiteX18" fmla="*/ 93785 w 12449908"/>
              <a:gd name="connsiteY18" fmla="*/ 5533293 h 7057293"/>
              <a:gd name="connsiteX19" fmla="*/ 117231 w 12449908"/>
              <a:gd name="connsiteY19" fmla="*/ 6424247 h 7057293"/>
              <a:gd name="connsiteX20" fmla="*/ 93785 w 12449908"/>
              <a:gd name="connsiteY20" fmla="*/ 6658708 h 7057293"/>
              <a:gd name="connsiteX21" fmla="*/ 23446 w 12449908"/>
              <a:gd name="connsiteY21" fmla="*/ 6940062 h 7057293"/>
              <a:gd name="connsiteX22" fmla="*/ 23446 w 12449908"/>
              <a:gd name="connsiteY22" fmla="*/ 7057293 h 7057293"/>
              <a:gd name="connsiteX23" fmla="*/ 23446 w 12449908"/>
              <a:gd name="connsiteY23" fmla="*/ 7057293 h 7057293"/>
              <a:gd name="connsiteX24" fmla="*/ 234462 w 12449908"/>
              <a:gd name="connsiteY24" fmla="*/ 7010400 h 7057293"/>
              <a:gd name="connsiteX25" fmla="*/ 328246 w 12449908"/>
              <a:gd name="connsiteY25" fmla="*/ 6986954 h 7057293"/>
              <a:gd name="connsiteX26" fmla="*/ 492369 w 12449908"/>
              <a:gd name="connsiteY26" fmla="*/ 6893170 h 7057293"/>
              <a:gd name="connsiteX27" fmla="*/ 703385 w 12449908"/>
              <a:gd name="connsiteY27" fmla="*/ 6846277 h 7057293"/>
              <a:gd name="connsiteX28" fmla="*/ 914400 w 12449908"/>
              <a:gd name="connsiteY28" fmla="*/ 6775939 h 7057293"/>
              <a:gd name="connsiteX29" fmla="*/ 1406769 w 12449908"/>
              <a:gd name="connsiteY29" fmla="*/ 6588370 h 7057293"/>
              <a:gd name="connsiteX30" fmla="*/ 1688123 w 12449908"/>
              <a:gd name="connsiteY30" fmla="*/ 6494585 h 7057293"/>
              <a:gd name="connsiteX31" fmla="*/ 1969477 w 12449908"/>
              <a:gd name="connsiteY31" fmla="*/ 6447693 h 7057293"/>
              <a:gd name="connsiteX32" fmla="*/ 2203938 w 12449908"/>
              <a:gd name="connsiteY32" fmla="*/ 6377354 h 7057293"/>
              <a:gd name="connsiteX33" fmla="*/ 2485292 w 12449908"/>
              <a:gd name="connsiteY33" fmla="*/ 6307016 h 7057293"/>
              <a:gd name="connsiteX34" fmla="*/ 2649415 w 12449908"/>
              <a:gd name="connsiteY34" fmla="*/ 6260123 h 7057293"/>
              <a:gd name="connsiteX35" fmla="*/ 3141785 w 12449908"/>
              <a:gd name="connsiteY35" fmla="*/ 6213231 h 7057293"/>
              <a:gd name="connsiteX36" fmla="*/ 3235569 w 12449908"/>
              <a:gd name="connsiteY36" fmla="*/ 6142893 h 7057293"/>
              <a:gd name="connsiteX37" fmla="*/ 3399692 w 12449908"/>
              <a:gd name="connsiteY37" fmla="*/ 6096000 h 7057293"/>
              <a:gd name="connsiteX38" fmla="*/ 3563815 w 12449908"/>
              <a:gd name="connsiteY38" fmla="*/ 6049108 h 7057293"/>
              <a:gd name="connsiteX39" fmla="*/ 3681046 w 12449908"/>
              <a:gd name="connsiteY39" fmla="*/ 5978770 h 7057293"/>
              <a:gd name="connsiteX40" fmla="*/ 3915508 w 12449908"/>
              <a:gd name="connsiteY40" fmla="*/ 5884985 h 7057293"/>
              <a:gd name="connsiteX41" fmla="*/ 4009292 w 12449908"/>
              <a:gd name="connsiteY41" fmla="*/ 5861539 h 7057293"/>
              <a:gd name="connsiteX42" fmla="*/ 4103077 w 12449908"/>
              <a:gd name="connsiteY42" fmla="*/ 5814647 h 7057293"/>
              <a:gd name="connsiteX43" fmla="*/ 4360985 w 12449908"/>
              <a:gd name="connsiteY43" fmla="*/ 5744308 h 7057293"/>
              <a:gd name="connsiteX44" fmla="*/ 4454769 w 12449908"/>
              <a:gd name="connsiteY44" fmla="*/ 5697416 h 7057293"/>
              <a:gd name="connsiteX45" fmla="*/ 4853354 w 12449908"/>
              <a:gd name="connsiteY45" fmla="*/ 5556739 h 7057293"/>
              <a:gd name="connsiteX46" fmla="*/ 4970585 w 12449908"/>
              <a:gd name="connsiteY46" fmla="*/ 5533293 h 7057293"/>
              <a:gd name="connsiteX47" fmla="*/ 5462954 w 12449908"/>
              <a:gd name="connsiteY47" fmla="*/ 5298831 h 7057293"/>
              <a:gd name="connsiteX48" fmla="*/ 5627077 w 12449908"/>
              <a:gd name="connsiteY48" fmla="*/ 5251939 h 7057293"/>
              <a:gd name="connsiteX49" fmla="*/ 5838092 w 12449908"/>
              <a:gd name="connsiteY49" fmla="*/ 5087816 h 7057293"/>
              <a:gd name="connsiteX50" fmla="*/ 6025662 w 12449908"/>
              <a:gd name="connsiteY50" fmla="*/ 5017477 h 7057293"/>
              <a:gd name="connsiteX51" fmla="*/ 6119446 w 12449908"/>
              <a:gd name="connsiteY51" fmla="*/ 4900247 h 7057293"/>
              <a:gd name="connsiteX52" fmla="*/ 6307015 w 12449908"/>
              <a:gd name="connsiteY52" fmla="*/ 4783016 h 7057293"/>
              <a:gd name="connsiteX53" fmla="*/ 6869723 w 12449908"/>
              <a:gd name="connsiteY53" fmla="*/ 4337539 h 7057293"/>
              <a:gd name="connsiteX54" fmla="*/ 7104185 w 12449908"/>
              <a:gd name="connsiteY54" fmla="*/ 4149970 h 7057293"/>
              <a:gd name="connsiteX55" fmla="*/ 7385538 w 12449908"/>
              <a:gd name="connsiteY55" fmla="*/ 3915508 h 7057293"/>
              <a:gd name="connsiteX56" fmla="*/ 7549662 w 12449908"/>
              <a:gd name="connsiteY56" fmla="*/ 3774831 h 7057293"/>
              <a:gd name="connsiteX57" fmla="*/ 7784123 w 12449908"/>
              <a:gd name="connsiteY57" fmla="*/ 3634154 h 7057293"/>
              <a:gd name="connsiteX58" fmla="*/ 7924800 w 12449908"/>
              <a:gd name="connsiteY58" fmla="*/ 3493477 h 7057293"/>
              <a:gd name="connsiteX59" fmla="*/ 8229600 w 12449908"/>
              <a:gd name="connsiteY59" fmla="*/ 3259016 h 7057293"/>
              <a:gd name="connsiteX60" fmla="*/ 8346831 w 12449908"/>
              <a:gd name="connsiteY60" fmla="*/ 3165231 h 7057293"/>
              <a:gd name="connsiteX61" fmla="*/ 8464062 w 12449908"/>
              <a:gd name="connsiteY61" fmla="*/ 3094893 h 7057293"/>
              <a:gd name="connsiteX62" fmla="*/ 8745415 w 12449908"/>
              <a:gd name="connsiteY62" fmla="*/ 2883877 h 7057293"/>
              <a:gd name="connsiteX63" fmla="*/ 8956431 w 12449908"/>
              <a:gd name="connsiteY63" fmla="*/ 2790093 h 7057293"/>
              <a:gd name="connsiteX64" fmla="*/ 9542585 w 12449908"/>
              <a:gd name="connsiteY64" fmla="*/ 2414954 h 7057293"/>
              <a:gd name="connsiteX65" fmla="*/ 10175631 w 12449908"/>
              <a:gd name="connsiteY65" fmla="*/ 2157047 h 7057293"/>
              <a:gd name="connsiteX66" fmla="*/ 10410092 w 12449908"/>
              <a:gd name="connsiteY66" fmla="*/ 2016370 h 7057293"/>
              <a:gd name="connsiteX67" fmla="*/ 10503877 w 12449908"/>
              <a:gd name="connsiteY67" fmla="*/ 1946031 h 7057293"/>
              <a:gd name="connsiteX68" fmla="*/ 10644554 w 12449908"/>
              <a:gd name="connsiteY68" fmla="*/ 1875693 h 7057293"/>
              <a:gd name="connsiteX69" fmla="*/ 10691446 w 12449908"/>
              <a:gd name="connsiteY69" fmla="*/ 1828800 h 7057293"/>
              <a:gd name="connsiteX70" fmla="*/ 10949354 w 12449908"/>
              <a:gd name="connsiteY70" fmla="*/ 1664677 h 7057293"/>
              <a:gd name="connsiteX71" fmla="*/ 11136923 w 12449908"/>
              <a:gd name="connsiteY71" fmla="*/ 1524000 h 7057293"/>
              <a:gd name="connsiteX72" fmla="*/ 11230708 w 12449908"/>
              <a:gd name="connsiteY72" fmla="*/ 1406770 h 7057293"/>
              <a:gd name="connsiteX73" fmla="*/ 11301046 w 12449908"/>
              <a:gd name="connsiteY73" fmla="*/ 1336431 h 7057293"/>
              <a:gd name="connsiteX74" fmla="*/ 11347938 w 12449908"/>
              <a:gd name="connsiteY74" fmla="*/ 1242647 h 7057293"/>
              <a:gd name="connsiteX75" fmla="*/ 11512062 w 12449908"/>
              <a:gd name="connsiteY75" fmla="*/ 1078523 h 7057293"/>
              <a:gd name="connsiteX76" fmla="*/ 11629292 w 12449908"/>
              <a:gd name="connsiteY76" fmla="*/ 937847 h 7057293"/>
              <a:gd name="connsiteX77" fmla="*/ 11769969 w 12449908"/>
              <a:gd name="connsiteY77" fmla="*/ 797170 h 7057293"/>
              <a:gd name="connsiteX78" fmla="*/ 11910646 w 12449908"/>
              <a:gd name="connsiteY78" fmla="*/ 703385 h 7057293"/>
              <a:gd name="connsiteX79" fmla="*/ 11957538 w 12449908"/>
              <a:gd name="connsiteY79" fmla="*/ 633047 h 7057293"/>
              <a:gd name="connsiteX80" fmla="*/ 12004431 w 12449908"/>
              <a:gd name="connsiteY80" fmla="*/ 586154 h 7057293"/>
              <a:gd name="connsiteX81" fmla="*/ 12027877 w 12449908"/>
              <a:gd name="connsiteY81" fmla="*/ 492370 h 7057293"/>
              <a:gd name="connsiteX82" fmla="*/ 12145108 w 12449908"/>
              <a:gd name="connsiteY82" fmla="*/ 375139 h 7057293"/>
              <a:gd name="connsiteX83" fmla="*/ 12285785 w 12449908"/>
              <a:gd name="connsiteY83" fmla="*/ 257908 h 7057293"/>
              <a:gd name="connsiteX84" fmla="*/ 12379569 w 12449908"/>
              <a:gd name="connsiteY84" fmla="*/ 211016 h 7057293"/>
              <a:gd name="connsiteX85" fmla="*/ 12449908 w 12449908"/>
              <a:gd name="connsiteY85" fmla="*/ 211016 h 705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449908" h="7057293">
                <a:moveTo>
                  <a:pt x="0" y="0"/>
                </a:moveTo>
                <a:lnTo>
                  <a:pt x="0" y="0"/>
                </a:lnTo>
                <a:cubicBezTo>
                  <a:pt x="9731" y="136230"/>
                  <a:pt x="7597" y="372408"/>
                  <a:pt x="70338" y="515816"/>
                </a:cubicBezTo>
                <a:cubicBezTo>
                  <a:pt x="99890" y="583364"/>
                  <a:pt x="187569" y="703385"/>
                  <a:pt x="187569" y="703385"/>
                </a:cubicBezTo>
                <a:cubicBezTo>
                  <a:pt x="211015" y="781539"/>
                  <a:pt x="227604" y="862088"/>
                  <a:pt x="257908" y="937847"/>
                </a:cubicBezTo>
                <a:cubicBezTo>
                  <a:pt x="274833" y="980158"/>
                  <a:pt x="307866" y="1014317"/>
                  <a:pt x="328246" y="1055077"/>
                </a:cubicBezTo>
                <a:cubicBezTo>
                  <a:pt x="339299" y="1077182"/>
                  <a:pt x="341956" y="1102700"/>
                  <a:pt x="351692" y="1125416"/>
                </a:cubicBezTo>
                <a:cubicBezTo>
                  <a:pt x="365460" y="1157541"/>
                  <a:pt x="382954" y="1187939"/>
                  <a:pt x="398585" y="1219200"/>
                </a:cubicBezTo>
                <a:cubicBezTo>
                  <a:pt x="390769" y="1586523"/>
                  <a:pt x="388490" y="1954006"/>
                  <a:pt x="375138" y="2321170"/>
                </a:cubicBezTo>
                <a:cubicBezTo>
                  <a:pt x="372848" y="2384138"/>
                  <a:pt x="365860" y="2447343"/>
                  <a:pt x="351692" y="2508739"/>
                </a:cubicBezTo>
                <a:cubicBezTo>
                  <a:pt x="342228" y="2549748"/>
                  <a:pt x="319578" y="2586563"/>
                  <a:pt x="304800" y="2625970"/>
                </a:cubicBezTo>
                <a:cubicBezTo>
                  <a:pt x="296122" y="2649111"/>
                  <a:pt x="287348" y="2672332"/>
                  <a:pt x="281354" y="2696308"/>
                </a:cubicBezTo>
                <a:cubicBezTo>
                  <a:pt x="271689" y="2734969"/>
                  <a:pt x="270510" y="2775733"/>
                  <a:pt x="257908" y="2813539"/>
                </a:cubicBezTo>
                <a:cubicBezTo>
                  <a:pt x="190804" y="3014850"/>
                  <a:pt x="228543" y="2813763"/>
                  <a:pt x="187569" y="2977662"/>
                </a:cubicBezTo>
                <a:cubicBezTo>
                  <a:pt x="162423" y="3078248"/>
                  <a:pt x="161581" y="3131050"/>
                  <a:pt x="140677" y="3235570"/>
                </a:cubicBezTo>
                <a:cubicBezTo>
                  <a:pt x="126546" y="3306225"/>
                  <a:pt x="109416" y="3376247"/>
                  <a:pt x="93785" y="3446585"/>
                </a:cubicBezTo>
                <a:cubicBezTo>
                  <a:pt x="69797" y="3734427"/>
                  <a:pt x="46892" y="3964312"/>
                  <a:pt x="46892" y="4267200"/>
                </a:cubicBezTo>
                <a:cubicBezTo>
                  <a:pt x="46892" y="4618979"/>
                  <a:pt x="57318" y="4970739"/>
                  <a:pt x="70338" y="5322277"/>
                </a:cubicBezTo>
                <a:cubicBezTo>
                  <a:pt x="72957" y="5393000"/>
                  <a:pt x="85969" y="5462954"/>
                  <a:pt x="93785" y="5533293"/>
                </a:cubicBezTo>
                <a:cubicBezTo>
                  <a:pt x="101600" y="5830278"/>
                  <a:pt x="117231" y="6127160"/>
                  <a:pt x="117231" y="6424247"/>
                </a:cubicBezTo>
                <a:cubicBezTo>
                  <a:pt x="117231" y="6502790"/>
                  <a:pt x="107835" y="6581431"/>
                  <a:pt x="93785" y="6658708"/>
                </a:cubicBezTo>
                <a:cubicBezTo>
                  <a:pt x="76492" y="6753820"/>
                  <a:pt x="23446" y="6843391"/>
                  <a:pt x="23446" y="6940062"/>
                </a:cubicBezTo>
                <a:lnTo>
                  <a:pt x="23446" y="7057293"/>
                </a:lnTo>
                <a:lnTo>
                  <a:pt x="23446" y="7057293"/>
                </a:lnTo>
                <a:lnTo>
                  <a:pt x="234462" y="7010400"/>
                </a:lnTo>
                <a:cubicBezTo>
                  <a:pt x="265860" y="7003154"/>
                  <a:pt x="298911" y="7000288"/>
                  <a:pt x="328246" y="6986954"/>
                </a:cubicBezTo>
                <a:cubicBezTo>
                  <a:pt x="385608" y="6960881"/>
                  <a:pt x="433371" y="6915294"/>
                  <a:pt x="492369" y="6893170"/>
                </a:cubicBezTo>
                <a:cubicBezTo>
                  <a:pt x="559836" y="6867870"/>
                  <a:pt x="633959" y="6865562"/>
                  <a:pt x="703385" y="6846277"/>
                </a:cubicBezTo>
                <a:cubicBezTo>
                  <a:pt x="774823" y="6826433"/>
                  <a:pt x="844789" y="6801463"/>
                  <a:pt x="914400" y="6775939"/>
                </a:cubicBezTo>
                <a:cubicBezTo>
                  <a:pt x="1079294" y="6715478"/>
                  <a:pt x="1241714" y="6648390"/>
                  <a:pt x="1406769" y="6588370"/>
                </a:cubicBezTo>
                <a:cubicBezTo>
                  <a:pt x="1499675" y="6554586"/>
                  <a:pt x="1590610" y="6510837"/>
                  <a:pt x="1688123" y="6494585"/>
                </a:cubicBezTo>
                <a:cubicBezTo>
                  <a:pt x="1781908" y="6478954"/>
                  <a:pt x="1876763" y="6468764"/>
                  <a:pt x="1969477" y="6447693"/>
                </a:cubicBezTo>
                <a:cubicBezTo>
                  <a:pt x="2049043" y="6429610"/>
                  <a:pt x="2125218" y="6398823"/>
                  <a:pt x="2203938" y="6377354"/>
                </a:cubicBezTo>
                <a:cubicBezTo>
                  <a:pt x="2297203" y="6351918"/>
                  <a:pt x="2391804" y="6331618"/>
                  <a:pt x="2485292" y="6307016"/>
                </a:cubicBezTo>
                <a:cubicBezTo>
                  <a:pt x="2540316" y="6292536"/>
                  <a:pt x="2593090" y="6268169"/>
                  <a:pt x="2649415" y="6260123"/>
                </a:cubicBezTo>
                <a:cubicBezTo>
                  <a:pt x="2812624" y="6236807"/>
                  <a:pt x="3141785" y="6213231"/>
                  <a:pt x="3141785" y="6213231"/>
                </a:cubicBezTo>
                <a:cubicBezTo>
                  <a:pt x="3173046" y="6189785"/>
                  <a:pt x="3199995" y="6159063"/>
                  <a:pt x="3235569" y="6142893"/>
                </a:cubicBezTo>
                <a:cubicBezTo>
                  <a:pt x="3287366" y="6119349"/>
                  <a:pt x="3345195" y="6112349"/>
                  <a:pt x="3399692" y="6096000"/>
                </a:cubicBezTo>
                <a:cubicBezTo>
                  <a:pt x="3567858" y="6045550"/>
                  <a:pt x="3358363" y="6100471"/>
                  <a:pt x="3563815" y="6049108"/>
                </a:cubicBezTo>
                <a:cubicBezTo>
                  <a:pt x="3634990" y="5977935"/>
                  <a:pt x="3582128" y="6016816"/>
                  <a:pt x="3681046" y="5978770"/>
                </a:cubicBezTo>
                <a:cubicBezTo>
                  <a:pt x="3759610" y="5948553"/>
                  <a:pt x="3833847" y="5905400"/>
                  <a:pt x="3915508" y="5884985"/>
                </a:cubicBezTo>
                <a:cubicBezTo>
                  <a:pt x="3946769" y="5877170"/>
                  <a:pt x="3979120" y="5872853"/>
                  <a:pt x="4009292" y="5861539"/>
                </a:cubicBezTo>
                <a:cubicBezTo>
                  <a:pt x="4042018" y="5849267"/>
                  <a:pt x="4070230" y="5826591"/>
                  <a:pt x="4103077" y="5814647"/>
                </a:cubicBezTo>
                <a:cubicBezTo>
                  <a:pt x="4164406" y="5792345"/>
                  <a:pt x="4287767" y="5762612"/>
                  <a:pt x="4360985" y="5744308"/>
                </a:cubicBezTo>
                <a:cubicBezTo>
                  <a:pt x="4392246" y="5728677"/>
                  <a:pt x="4422506" y="5710859"/>
                  <a:pt x="4454769" y="5697416"/>
                </a:cubicBezTo>
                <a:cubicBezTo>
                  <a:pt x="4540147" y="5661842"/>
                  <a:pt x="4769542" y="5580685"/>
                  <a:pt x="4853354" y="5556739"/>
                </a:cubicBezTo>
                <a:cubicBezTo>
                  <a:pt x="4891672" y="5545791"/>
                  <a:pt x="4931508" y="5541108"/>
                  <a:pt x="4970585" y="5533293"/>
                </a:cubicBezTo>
                <a:cubicBezTo>
                  <a:pt x="5067851" y="5484660"/>
                  <a:pt x="5324679" y="5348215"/>
                  <a:pt x="5462954" y="5298831"/>
                </a:cubicBezTo>
                <a:cubicBezTo>
                  <a:pt x="5516536" y="5279694"/>
                  <a:pt x="5572369" y="5267570"/>
                  <a:pt x="5627077" y="5251939"/>
                </a:cubicBezTo>
                <a:cubicBezTo>
                  <a:pt x="5697415" y="5197231"/>
                  <a:pt x="5761286" y="5132996"/>
                  <a:pt x="5838092" y="5087816"/>
                </a:cubicBezTo>
                <a:cubicBezTo>
                  <a:pt x="5895648" y="5053960"/>
                  <a:pt x="5970102" y="5054517"/>
                  <a:pt x="6025662" y="5017477"/>
                </a:cubicBezTo>
                <a:cubicBezTo>
                  <a:pt x="6067300" y="4989718"/>
                  <a:pt x="6081002" y="4932283"/>
                  <a:pt x="6119446" y="4900247"/>
                </a:cubicBezTo>
                <a:cubicBezTo>
                  <a:pt x="6176087" y="4853046"/>
                  <a:pt x="6248031" y="4827254"/>
                  <a:pt x="6307015" y="4783016"/>
                </a:cubicBezTo>
                <a:cubicBezTo>
                  <a:pt x="6498401" y="4639476"/>
                  <a:pt x="6682377" y="4486313"/>
                  <a:pt x="6869723" y="4337539"/>
                </a:cubicBezTo>
                <a:lnTo>
                  <a:pt x="7104185" y="4149970"/>
                </a:lnTo>
                <a:cubicBezTo>
                  <a:pt x="7198670" y="4072664"/>
                  <a:pt x="7292158" y="3994144"/>
                  <a:pt x="7385538" y="3915508"/>
                </a:cubicBezTo>
                <a:cubicBezTo>
                  <a:pt x="7440653" y="3869095"/>
                  <a:pt x="7487876" y="3811903"/>
                  <a:pt x="7549662" y="3774831"/>
                </a:cubicBezTo>
                <a:cubicBezTo>
                  <a:pt x="7627816" y="3727939"/>
                  <a:pt x="7711209" y="3688839"/>
                  <a:pt x="7784123" y="3634154"/>
                </a:cubicBezTo>
                <a:cubicBezTo>
                  <a:pt x="7837176" y="3594364"/>
                  <a:pt x="7874074" y="3536193"/>
                  <a:pt x="7924800" y="3493477"/>
                </a:cubicBezTo>
                <a:cubicBezTo>
                  <a:pt x="8022848" y="3410911"/>
                  <a:pt x="8128419" y="3337712"/>
                  <a:pt x="8229600" y="3259016"/>
                </a:cubicBezTo>
                <a:cubicBezTo>
                  <a:pt x="8269102" y="3228293"/>
                  <a:pt x="8303919" y="3190978"/>
                  <a:pt x="8346831" y="3165231"/>
                </a:cubicBezTo>
                <a:cubicBezTo>
                  <a:pt x="8385908" y="3141785"/>
                  <a:pt x="8427207" y="3121697"/>
                  <a:pt x="8464062" y="3094893"/>
                </a:cubicBezTo>
                <a:cubicBezTo>
                  <a:pt x="8606076" y="2991610"/>
                  <a:pt x="8592689" y="2965331"/>
                  <a:pt x="8745415" y="2883877"/>
                </a:cubicBezTo>
                <a:cubicBezTo>
                  <a:pt x="8813332" y="2847655"/>
                  <a:pt x="8889944" y="2828877"/>
                  <a:pt x="8956431" y="2790093"/>
                </a:cubicBezTo>
                <a:cubicBezTo>
                  <a:pt x="9048471" y="2736403"/>
                  <a:pt x="9404329" y="2478477"/>
                  <a:pt x="9542585" y="2414954"/>
                </a:cubicBezTo>
                <a:cubicBezTo>
                  <a:pt x="9749632" y="2319824"/>
                  <a:pt x="9980247" y="2274278"/>
                  <a:pt x="10175631" y="2157047"/>
                </a:cubicBezTo>
                <a:cubicBezTo>
                  <a:pt x="10253785" y="2110155"/>
                  <a:pt x="10333425" y="2065656"/>
                  <a:pt x="10410092" y="2016370"/>
                </a:cubicBezTo>
                <a:cubicBezTo>
                  <a:pt x="10442963" y="1995239"/>
                  <a:pt x="10470369" y="1966136"/>
                  <a:pt x="10503877" y="1946031"/>
                </a:cubicBezTo>
                <a:cubicBezTo>
                  <a:pt x="10548833" y="1919057"/>
                  <a:pt x="10597662" y="1899139"/>
                  <a:pt x="10644554" y="1875693"/>
                </a:cubicBezTo>
                <a:cubicBezTo>
                  <a:pt x="10660185" y="1860062"/>
                  <a:pt x="10673271" y="1841383"/>
                  <a:pt x="10691446" y="1828800"/>
                </a:cubicBezTo>
                <a:cubicBezTo>
                  <a:pt x="10775227" y="1770797"/>
                  <a:pt x="10877300" y="1736731"/>
                  <a:pt x="10949354" y="1664677"/>
                </a:cubicBezTo>
                <a:cubicBezTo>
                  <a:pt x="11051916" y="1562115"/>
                  <a:pt x="10991260" y="1611399"/>
                  <a:pt x="11136923" y="1524000"/>
                </a:cubicBezTo>
                <a:cubicBezTo>
                  <a:pt x="11168185" y="1484923"/>
                  <a:pt x="11197755" y="1444431"/>
                  <a:pt x="11230708" y="1406770"/>
                </a:cubicBezTo>
                <a:cubicBezTo>
                  <a:pt x="11252543" y="1381816"/>
                  <a:pt x="11281773" y="1363413"/>
                  <a:pt x="11301046" y="1336431"/>
                </a:cubicBezTo>
                <a:cubicBezTo>
                  <a:pt x="11321361" y="1307990"/>
                  <a:pt x="11325806" y="1269698"/>
                  <a:pt x="11347938" y="1242647"/>
                </a:cubicBezTo>
                <a:cubicBezTo>
                  <a:pt x="11396931" y="1182767"/>
                  <a:pt x="11462532" y="1137959"/>
                  <a:pt x="11512062" y="1078523"/>
                </a:cubicBezTo>
                <a:cubicBezTo>
                  <a:pt x="11551139" y="1031631"/>
                  <a:pt x="11588046" y="982843"/>
                  <a:pt x="11629292" y="937847"/>
                </a:cubicBezTo>
                <a:cubicBezTo>
                  <a:pt x="11674103" y="888962"/>
                  <a:pt x="11714791" y="833955"/>
                  <a:pt x="11769969" y="797170"/>
                </a:cubicBezTo>
                <a:lnTo>
                  <a:pt x="11910646" y="703385"/>
                </a:lnTo>
                <a:cubicBezTo>
                  <a:pt x="11926277" y="679939"/>
                  <a:pt x="11939935" y="655051"/>
                  <a:pt x="11957538" y="633047"/>
                </a:cubicBezTo>
                <a:cubicBezTo>
                  <a:pt x="11971347" y="615785"/>
                  <a:pt x="11994545" y="605926"/>
                  <a:pt x="12004431" y="586154"/>
                </a:cubicBezTo>
                <a:cubicBezTo>
                  <a:pt x="12018842" y="557333"/>
                  <a:pt x="12010003" y="519182"/>
                  <a:pt x="12027877" y="492370"/>
                </a:cubicBezTo>
                <a:cubicBezTo>
                  <a:pt x="12058532" y="446388"/>
                  <a:pt x="12106031" y="414216"/>
                  <a:pt x="12145108" y="375139"/>
                </a:cubicBezTo>
                <a:cubicBezTo>
                  <a:pt x="12209768" y="310478"/>
                  <a:pt x="12209615" y="301433"/>
                  <a:pt x="12285785" y="257908"/>
                </a:cubicBezTo>
                <a:cubicBezTo>
                  <a:pt x="12316131" y="240567"/>
                  <a:pt x="12345963" y="220618"/>
                  <a:pt x="12379569" y="211016"/>
                </a:cubicBezTo>
                <a:cubicBezTo>
                  <a:pt x="12402113" y="204575"/>
                  <a:pt x="12426462" y="211016"/>
                  <a:pt x="12449908" y="21101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330" eaLnBrk="0" fontAlgn="base" hangingPunct="0">
              <a:spcBef>
                <a:spcPct val="0"/>
              </a:spcBef>
              <a:spcAft>
                <a:spcPct val="0"/>
              </a:spcAft>
              <a:defRPr/>
            </a:pPr>
            <a:endParaRPr lang="en-US" sz="1765">
              <a:solidFill>
                <a:srgbClr val="FFFFFF"/>
              </a:solidFill>
            </a:endParaRPr>
          </a:p>
        </p:txBody>
      </p:sp>
      <p:grpSp>
        <p:nvGrpSpPr>
          <p:cNvPr id="4" name="Group 3"/>
          <p:cNvGrpSpPr/>
          <p:nvPr/>
        </p:nvGrpSpPr>
        <p:grpSpPr>
          <a:xfrm>
            <a:off x="7141335" y="1045844"/>
            <a:ext cx="5353804" cy="4348150"/>
            <a:chOff x="7284533" y="1066318"/>
            <a:chExt cx="5461159" cy="4435339"/>
          </a:xfrm>
        </p:grpSpPr>
        <p:sp>
          <p:nvSpPr>
            <p:cNvPr id="14" name="Title 1"/>
            <p:cNvSpPr txBox="1">
              <a:spLocks/>
            </p:cNvSpPr>
            <p:nvPr/>
          </p:nvSpPr>
          <p:spPr>
            <a:xfrm>
              <a:off x="7284533" y="1066318"/>
              <a:ext cx="5461159" cy="917444"/>
            </a:xfrm>
            <a:prstGeom prst="rect">
              <a:avLst/>
            </a:prstGeom>
          </p:spPr>
          <p:txBody>
            <a:bodyPr lIns="143407" tIns="89630" rIns="143407" bIns="8963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base">
                <a:spcAft>
                  <a:spcPct val="0"/>
                </a:spcAft>
                <a:defRPr/>
              </a:pPr>
              <a:r>
                <a:rPr sz="3136" b="1" spc="118" dirty="0">
                  <a:solidFill>
                    <a:srgbClr val="004BBB"/>
                  </a:solidFill>
                  <a:latin typeface="Segoe UI"/>
                  <a:ea typeface="Segoe UI Black" panose="020B0A02040204020203" pitchFamily="34" charset="0"/>
                  <a:cs typeface="Segoe UI Black" panose="020B0A02040204020203" pitchFamily="34" charset="0"/>
                </a:rPr>
                <a:t>THAT EMPOWERS CUSTOMERS</a:t>
              </a:r>
            </a:p>
          </p:txBody>
        </p:sp>
        <p:sp>
          <p:nvSpPr>
            <p:cNvPr id="8" name="TextBox 7"/>
            <p:cNvSpPr txBox="1"/>
            <p:nvPr/>
          </p:nvSpPr>
          <p:spPr>
            <a:xfrm>
              <a:off x="7284533" y="2077533"/>
              <a:ext cx="4090911" cy="3424124"/>
            </a:xfrm>
            <a:prstGeom prst="rect">
              <a:avLst/>
            </a:prstGeom>
            <a:noFill/>
          </p:spPr>
          <p:txBody>
            <a:bodyPr wrap="none" lIns="143407" tIns="89630" rIns="143407" bIns="89630" rtlCol="0">
              <a:spAutoFit/>
            </a:bodyPr>
            <a:lstStyle/>
            <a:p>
              <a:pPr defTabSz="913330" eaLnBrk="0" fontAlgn="base" hangingPunct="0">
                <a:lnSpc>
                  <a:spcPct val="90000"/>
                </a:lnSpc>
                <a:spcBef>
                  <a:spcPct val="0"/>
                </a:spcBef>
                <a:spcAft>
                  <a:spcPts val="588"/>
                </a:spcAft>
                <a:defRPr/>
              </a:pPr>
              <a:r>
                <a:rPr lang="en-US" sz="2745" dirty="0">
                  <a:latin typeface="Segoe UI Light" panose="020B0502040204020203" pitchFamily="34" charset="0"/>
                  <a:cs typeface="Segoe UI Light" panose="020B0502040204020203" pitchFamily="34" charset="0"/>
                </a:rPr>
                <a:t>Key Vault</a:t>
              </a:r>
            </a:p>
            <a:p>
              <a:pPr defTabSz="913330" eaLnBrk="0" fontAlgn="base" hangingPunct="0">
                <a:lnSpc>
                  <a:spcPct val="90000"/>
                </a:lnSpc>
                <a:spcBef>
                  <a:spcPct val="0"/>
                </a:spcBef>
                <a:spcAft>
                  <a:spcPts val="588"/>
                </a:spcAft>
                <a:defRPr/>
              </a:pPr>
              <a:r>
                <a:rPr lang="en-US" sz="2745" dirty="0">
                  <a:latin typeface="Segoe UI Light" panose="020B0502040204020203" pitchFamily="34" charset="0"/>
                  <a:cs typeface="Segoe UI Light" panose="020B0502040204020203" pitchFamily="34" charset="0"/>
                </a:rPr>
                <a:t>Virtual Networks</a:t>
              </a:r>
            </a:p>
            <a:p>
              <a:pPr defTabSz="913330" eaLnBrk="0" fontAlgn="base" hangingPunct="0">
                <a:lnSpc>
                  <a:spcPct val="90000"/>
                </a:lnSpc>
                <a:spcBef>
                  <a:spcPct val="0"/>
                </a:spcBef>
                <a:spcAft>
                  <a:spcPts val="588"/>
                </a:spcAft>
                <a:defRPr/>
              </a:pPr>
              <a:r>
                <a:rPr lang="en-US" sz="2745" dirty="0">
                  <a:latin typeface="Segoe UI Light" panose="020B0502040204020203" pitchFamily="34" charset="0"/>
                  <a:cs typeface="Segoe UI Light" panose="020B0502040204020203" pitchFamily="34" charset="0"/>
                </a:rPr>
                <a:t>Network Security Groups</a:t>
              </a:r>
            </a:p>
            <a:p>
              <a:pPr defTabSz="913330" eaLnBrk="0" fontAlgn="base" hangingPunct="0">
                <a:lnSpc>
                  <a:spcPct val="90000"/>
                </a:lnSpc>
                <a:spcBef>
                  <a:spcPct val="0"/>
                </a:spcBef>
                <a:spcAft>
                  <a:spcPts val="588"/>
                </a:spcAft>
                <a:defRPr/>
              </a:pPr>
              <a:r>
                <a:rPr lang="en-US" sz="2745" dirty="0">
                  <a:latin typeface="Segoe UI Light" panose="020B0502040204020203" pitchFamily="34" charset="0"/>
                  <a:cs typeface="Segoe UI Light" panose="020B0502040204020203" pitchFamily="34" charset="0"/>
                </a:rPr>
                <a:t>VPN + ExpressRoute</a:t>
              </a:r>
            </a:p>
            <a:p>
              <a:pPr defTabSz="913330" eaLnBrk="0" fontAlgn="base" hangingPunct="0">
                <a:lnSpc>
                  <a:spcPct val="90000"/>
                </a:lnSpc>
                <a:spcBef>
                  <a:spcPct val="0"/>
                </a:spcBef>
                <a:spcAft>
                  <a:spcPts val="588"/>
                </a:spcAft>
                <a:defRPr/>
              </a:pPr>
              <a:r>
                <a:rPr lang="en-US" sz="2745" dirty="0">
                  <a:latin typeface="Segoe UI Light" panose="020B0502040204020203" pitchFamily="34" charset="0"/>
                  <a:cs typeface="Segoe UI Light" panose="020B0502040204020203" pitchFamily="34" charset="0"/>
                </a:rPr>
                <a:t>Azure Active Directory</a:t>
              </a:r>
            </a:p>
            <a:p>
              <a:pPr defTabSz="913330" eaLnBrk="0" fontAlgn="base" hangingPunct="0">
                <a:lnSpc>
                  <a:spcPct val="90000"/>
                </a:lnSpc>
                <a:spcBef>
                  <a:spcPct val="0"/>
                </a:spcBef>
                <a:spcAft>
                  <a:spcPts val="588"/>
                </a:spcAft>
                <a:defRPr/>
              </a:pPr>
              <a:r>
                <a:rPr lang="en-US" sz="2745" dirty="0">
                  <a:latin typeface="Segoe UI Light" panose="020B0502040204020203" pitchFamily="34" charset="0"/>
                  <a:cs typeface="Segoe UI Light" panose="020B0502040204020203" pitchFamily="34" charset="0"/>
                </a:rPr>
                <a:t>Marketplace Solutions</a:t>
              </a:r>
            </a:p>
            <a:p>
              <a:pPr defTabSz="913330" eaLnBrk="0" fontAlgn="base" hangingPunct="0">
                <a:lnSpc>
                  <a:spcPct val="90000"/>
                </a:lnSpc>
                <a:spcBef>
                  <a:spcPct val="0"/>
                </a:spcBef>
                <a:spcAft>
                  <a:spcPts val="588"/>
                </a:spcAft>
                <a:defRPr/>
              </a:pPr>
              <a:r>
                <a:rPr lang="en-US" sz="2745" b="1" dirty="0">
                  <a:latin typeface="Segoe UI Semibold" panose="020B0702040204020203" pitchFamily="34" charset="0"/>
                  <a:cs typeface="Segoe UI Semibold" panose="020B0702040204020203" pitchFamily="34" charset="0"/>
                </a:rPr>
                <a:t>Azure Security Center</a:t>
              </a:r>
            </a:p>
          </p:txBody>
        </p:sp>
      </p:grpSp>
      <p:grpSp>
        <p:nvGrpSpPr>
          <p:cNvPr id="2" name="Group 1"/>
          <p:cNvGrpSpPr/>
          <p:nvPr/>
        </p:nvGrpSpPr>
        <p:grpSpPr>
          <a:xfrm>
            <a:off x="349738" y="1045844"/>
            <a:ext cx="7547424" cy="3615958"/>
            <a:chOff x="356750" y="1066319"/>
            <a:chExt cx="7698766" cy="3688465"/>
          </a:xfrm>
        </p:grpSpPr>
        <p:sp>
          <p:nvSpPr>
            <p:cNvPr id="13" name="Title 1"/>
            <p:cNvSpPr txBox="1">
              <a:spLocks/>
            </p:cNvSpPr>
            <p:nvPr/>
          </p:nvSpPr>
          <p:spPr>
            <a:xfrm>
              <a:off x="356750" y="1066319"/>
              <a:ext cx="7698766" cy="917444"/>
            </a:xfrm>
            <a:prstGeom prst="rect">
              <a:avLst/>
            </a:prstGeom>
          </p:spPr>
          <p:txBody>
            <a:bodyPr lIns="143407" tIns="89630" rIns="143407" bIns="8963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base">
                <a:spcAft>
                  <a:spcPct val="0"/>
                </a:spcAft>
                <a:defRPr/>
              </a:pPr>
              <a:r>
                <a:rPr sz="3136" b="1" spc="118" dirty="0">
                  <a:solidFill>
                    <a:schemeClr val="bg1"/>
                  </a:solidFill>
                  <a:latin typeface="Segoe UI"/>
                  <a:ea typeface="Segoe UI Black" panose="020B0A02040204020203" pitchFamily="34" charset="0"/>
                  <a:cs typeface="Segoe UI Black" panose="020B0A02040204020203" pitchFamily="34" charset="0"/>
                </a:rPr>
                <a:t>A TRUSTED CLOUD </a:t>
              </a:r>
              <a:br>
                <a:rPr sz="3136" b="1" spc="118" dirty="0">
                  <a:solidFill>
                    <a:schemeClr val="bg1"/>
                  </a:solidFill>
                  <a:latin typeface="Segoe UI"/>
                  <a:ea typeface="Segoe UI Black" panose="020B0A02040204020203" pitchFamily="34" charset="0"/>
                  <a:cs typeface="Segoe UI Black" panose="020B0A02040204020203" pitchFamily="34" charset="0"/>
                </a:rPr>
              </a:br>
              <a:r>
                <a:rPr sz="3136" b="1" spc="118" dirty="0">
                  <a:solidFill>
                    <a:schemeClr val="bg1"/>
                  </a:solidFill>
                  <a:latin typeface="Segoe UI"/>
                  <a:ea typeface="Segoe UI Black" panose="020B0A02040204020203" pitchFamily="34" charset="0"/>
                  <a:cs typeface="Segoe UI Black" panose="020B0A02040204020203" pitchFamily="34" charset="0"/>
                </a:rPr>
                <a:t>PLATFORM</a:t>
              </a:r>
            </a:p>
          </p:txBody>
        </p:sp>
        <p:sp>
          <p:nvSpPr>
            <p:cNvPr id="7" name="TextBox 6"/>
            <p:cNvSpPr txBox="1"/>
            <p:nvPr/>
          </p:nvSpPr>
          <p:spPr>
            <a:xfrm>
              <a:off x="425981" y="2278649"/>
              <a:ext cx="3283262" cy="2476135"/>
            </a:xfrm>
            <a:prstGeom prst="rect">
              <a:avLst/>
            </a:prstGeom>
            <a:noFill/>
          </p:spPr>
          <p:txBody>
            <a:bodyPr wrap="none" lIns="143407" tIns="89630" rIns="143407" bIns="89630" rtlCol="0">
              <a:spAutoFit/>
            </a:bodyPr>
            <a:lstStyle/>
            <a:p>
              <a:pPr defTabSz="913330" eaLnBrk="0" fontAlgn="base" hangingPunct="0">
                <a:lnSpc>
                  <a:spcPct val="90000"/>
                </a:lnSpc>
                <a:spcBef>
                  <a:spcPct val="0"/>
                </a:spcBef>
                <a:spcAft>
                  <a:spcPts val="588"/>
                </a:spcAft>
                <a:defRPr/>
              </a:pPr>
              <a:r>
                <a:rPr lang="en-US" sz="2745" dirty="0">
                  <a:solidFill>
                    <a:srgbClr val="FFFFFF"/>
                  </a:solidFill>
                  <a:latin typeface="Segoe UI Light" panose="020B0502040204020203" pitchFamily="34" charset="0"/>
                  <a:cs typeface="Segoe UI Light" panose="020B0502040204020203" pitchFamily="34" charset="0"/>
                </a:rPr>
                <a:t>Security</a:t>
              </a:r>
            </a:p>
            <a:p>
              <a:pPr defTabSz="913330" eaLnBrk="0" fontAlgn="base" hangingPunct="0">
                <a:lnSpc>
                  <a:spcPct val="90000"/>
                </a:lnSpc>
                <a:spcBef>
                  <a:spcPct val="0"/>
                </a:spcBef>
                <a:spcAft>
                  <a:spcPts val="588"/>
                </a:spcAft>
                <a:defRPr/>
              </a:pPr>
              <a:r>
                <a:rPr lang="en-US" sz="2745" dirty="0">
                  <a:solidFill>
                    <a:srgbClr val="FFFFFF"/>
                  </a:solidFill>
                  <a:latin typeface="Segoe UI Light" panose="020B0502040204020203" pitchFamily="34" charset="0"/>
                  <a:cs typeface="Segoe UI Light" panose="020B0502040204020203" pitchFamily="34" charset="0"/>
                </a:rPr>
                <a:t>Privacy and Control</a:t>
              </a:r>
            </a:p>
            <a:p>
              <a:pPr defTabSz="913330" eaLnBrk="0" fontAlgn="base" hangingPunct="0">
                <a:lnSpc>
                  <a:spcPct val="90000"/>
                </a:lnSpc>
                <a:spcBef>
                  <a:spcPct val="0"/>
                </a:spcBef>
                <a:spcAft>
                  <a:spcPts val="588"/>
                </a:spcAft>
                <a:defRPr/>
              </a:pPr>
              <a:r>
                <a:rPr lang="en-US" sz="2745" dirty="0">
                  <a:solidFill>
                    <a:srgbClr val="FFFFFF"/>
                  </a:solidFill>
                  <a:latin typeface="Segoe UI Light" panose="020B0502040204020203" pitchFamily="34" charset="0"/>
                  <a:cs typeface="Segoe UI Light" panose="020B0502040204020203" pitchFamily="34" charset="0"/>
                </a:rPr>
                <a:t>Transparency</a:t>
              </a:r>
            </a:p>
            <a:p>
              <a:pPr defTabSz="913330" eaLnBrk="0" fontAlgn="base" hangingPunct="0">
                <a:lnSpc>
                  <a:spcPct val="90000"/>
                </a:lnSpc>
                <a:spcBef>
                  <a:spcPct val="0"/>
                </a:spcBef>
                <a:spcAft>
                  <a:spcPts val="588"/>
                </a:spcAft>
                <a:defRPr/>
              </a:pPr>
              <a:r>
                <a:rPr lang="en-US" sz="2745" dirty="0">
                  <a:solidFill>
                    <a:srgbClr val="FFFFFF"/>
                  </a:solidFill>
                  <a:latin typeface="Segoe UI Light" panose="020B0502040204020203" pitchFamily="34" charset="0"/>
                  <a:cs typeface="Segoe UI Light" panose="020B0502040204020203" pitchFamily="34" charset="0"/>
                </a:rPr>
                <a:t>Compliance</a:t>
              </a:r>
            </a:p>
            <a:p>
              <a:pPr defTabSz="913330" eaLnBrk="0" fontAlgn="base" hangingPunct="0">
                <a:lnSpc>
                  <a:spcPct val="90000"/>
                </a:lnSpc>
                <a:spcBef>
                  <a:spcPct val="0"/>
                </a:spcBef>
                <a:spcAft>
                  <a:spcPts val="588"/>
                </a:spcAft>
                <a:defRPr/>
              </a:pPr>
              <a:endParaRPr lang="en-US" sz="2745" b="1" dirty="0">
                <a:solidFill>
                  <a:srgbClr val="505050"/>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59043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bwMode="auto">
          <a:xfrm>
            <a:off x="1243" y="-13217"/>
            <a:ext cx="12188542" cy="44421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414" y="-13217"/>
            <a:ext cx="12194414" cy="3322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5"/>
          <p:cNvSpPr>
            <a:spLocks/>
          </p:cNvSpPr>
          <p:nvPr/>
        </p:nvSpPr>
        <p:spPr bwMode="auto">
          <a:xfrm flipH="1">
            <a:off x="1734780" y="2914683"/>
            <a:ext cx="3642394" cy="1498162"/>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sp>
        <p:nvSpPr>
          <p:cNvPr id="59" name="Freeform 5"/>
          <p:cNvSpPr>
            <a:spLocks/>
          </p:cNvSpPr>
          <p:nvPr/>
        </p:nvSpPr>
        <p:spPr bwMode="auto">
          <a:xfrm>
            <a:off x="6730330" y="2049640"/>
            <a:ext cx="5952290" cy="2448251"/>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sp>
        <p:nvSpPr>
          <p:cNvPr id="117" name="Freeform 137"/>
          <p:cNvSpPr>
            <a:spLocks/>
          </p:cNvSpPr>
          <p:nvPr/>
        </p:nvSpPr>
        <p:spPr bwMode="auto">
          <a:xfrm>
            <a:off x="7713372" y="3641539"/>
            <a:ext cx="1480582" cy="822545"/>
          </a:xfrm>
          <a:custGeom>
            <a:avLst/>
            <a:gdLst>
              <a:gd name="T0" fmla="*/ 210 w 266"/>
              <a:gd name="T1" fmla="*/ 37 h 148"/>
              <a:gd name="T2" fmla="*/ 192 w 266"/>
              <a:gd name="T3" fmla="*/ 39 h 148"/>
              <a:gd name="T4" fmla="*/ 129 w 266"/>
              <a:gd name="T5" fmla="*/ 0 h 148"/>
              <a:gd name="T6" fmla="*/ 59 w 266"/>
              <a:gd name="T7" fmla="*/ 54 h 148"/>
              <a:gd name="T8" fmla="*/ 46 w 266"/>
              <a:gd name="T9" fmla="*/ 54 h 148"/>
              <a:gd name="T10" fmla="*/ 0 w 266"/>
              <a:gd name="T11" fmla="*/ 100 h 148"/>
              <a:gd name="T12" fmla="*/ 46 w 266"/>
              <a:gd name="T13" fmla="*/ 148 h 148"/>
              <a:gd name="T14" fmla="*/ 210 w 266"/>
              <a:gd name="T15" fmla="*/ 148 h 148"/>
              <a:gd name="T16" fmla="*/ 266 w 266"/>
              <a:gd name="T17" fmla="*/ 91 h 148"/>
              <a:gd name="T18" fmla="*/ 210 w 266"/>
              <a:gd name="T19" fmla="*/ 3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148">
                <a:moveTo>
                  <a:pt x="210" y="37"/>
                </a:moveTo>
                <a:cubicBezTo>
                  <a:pt x="203" y="37"/>
                  <a:pt x="199" y="37"/>
                  <a:pt x="192" y="39"/>
                </a:cubicBezTo>
                <a:cubicBezTo>
                  <a:pt x="179" y="15"/>
                  <a:pt x="157" y="0"/>
                  <a:pt x="129" y="0"/>
                </a:cubicBezTo>
                <a:cubicBezTo>
                  <a:pt x="96" y="0"/>
                  <a:pt x="68" y="24"/>
                  <a:pt x="59" y="54"/>
                </a:cubicBezTo>
                <a:cubicBezTo>
                  <a:pt x="55" y="54"/>
                  <a:pt x="50" y="54"/>
                  <a:pt x="46" y="54"/>
                </a:cubicBezTo>
                <a:cubicBezTo>
                  <a:pt x="22" y="54"/>
                  <a:pt x="0" y="74"/>
                  <a:pt x="0" y="100"/>
                </a:cubicBezTo>
                <a:cubicBezTo>
                  <a:pt x="0" y="126"/>
                  <a:pt x="22" y="148"/>
                  <a:pt x="46" y="148"/>
                </a:cubicBezTo>
                <a:cubicBezTo>
                  <a:pt x="210" y="148"/>
                  <a:pt x="210" y="148"/>
                  <a:pt x="210" y="148"/>
                </a:cubicBezTo>
                <a:cubicBezTo>
                  <a:pt x="240" y="148"/>
                  <a:pt x="266" y="122"/>
                  <a:pt x="266" y="91"/>
                </a:cubicBezTo>
                <a:cubicBezTo>
                  <a:pt x="266" y="61"/>
                  <a:pt x="240" y="37"/>
                  <a:pt x="210" y="37"/>
                </a:cubicBezTo>
              </a:path>
            </a:pathLst>
          </a:custGeom>
          <a:solidFill>
            <a:schemeClr val="bg1"/>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sp>
        <p:nvSpPr>
          <p:cNvPr id="2" name="Title 1"/>
          <p:cNvSpPr>
            <a:spLocks noGrp="1"/>
          </p:cNvSpPr>
          <p:nvPr>
            <p:ph type="title"/>
          </p:nvPr>
        </p:nvSpPr>
        <p:spPr>
          <a:xfrm>
            <a:off x="269241" y="441693"/>
            <a:ext cx="11655840" cy="899537"/>
          </a:xfrm>
        </p:spPr>
        <p:txBody>
          <a:bodyPr/>
          <a:lstStyle/>
          <a:p>
            <a:r>
              <a:rPr lang="en-US" dirty="0">
                <a:solidFill>
                  <a:schemeClr val="bg1"/>
                </a:solidFill>
              </a:rPr>
              <a:t>Azure Security Center helps unlock cloud opportunities</a:t>
            </a:r>
          </a:p>
        </p:txBody>
      </p:sp>
      <p:sp>
        <p:nvSpPr>
          <p:cNvPr id="241" name="Freeform 9"/>
          <p:cNvSpPr>
            <a:spLocks/>
          </p:cNvSpPr>
          <p:nvPr/>
        </p:nvSpPr>
        <p:spPr bwMode="auto">
          <a:xfrm>
            <a:off x="-193913" y="3885365"/>
            <a:ext cx="1001816" cy="548101"/>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solidFill>
            <a:schemeClr val="bg1"/>
          </a:solidFill>
          <a:ln>
            <a:noFill/>
          </a:ln>
        </p:spPr>
        <p:txBody>
          <a:bodyPr vert="horz" wrap="square" lIns="89617" tIns="44808" rIns="89617" bIns="44808" numCol="1" anchor="t" anchorCtr="0" compatLnSpc="1">
            <a:prstTxWarp prst="textNoShape">
              <a:avLst/>
            </a:prstTxWarp>
          </a:bodyPr>
          <a:lstStyle/>
          <a:p>
            <a:pPr defTabSz="914016"/>
            <a:endParaRPr lang="en-US" sz="1765" kern="0">
              <a:solidFill>
                <a:srgbClr val="505050"/>
              </a:solidFill>
            </a:endParaRPr>
          </a:p>
        </p:txBody>
      </p:sp>
      <p:grpSp>
        <p:nvGrpSpPr>
          <p:cNvPr id="3" name="Group 2"/>
          <p:cNvGrpSpPr/>
          <p:nvPr/>
        </p:nvGrpSpPr>
        <p:grpSpPr>
          <a:xfrm>
            <a:off x="267589" y="1926551"/>
            <a:ext cx="11804576" cy="4055155"/>
            <a:chOff x="272954" y="1964685"/>
            <a:chExt cx="12041282" cy="4136469"/>
          </a:xfrm>
        </p:grpSpPr>
        <p:sp>
          <p:nvSpPr>
            <p:cNvPr id="27" name="Rectangle 26"/>
            <p:cNvSpPr/>
            <p:nvPr/>
          </p:nvSpPr>
          <p:spPr bwMode="auto">
            <a:xfrm>
              <a:off x="272954" y="5437470"/>
              <a:ext cx="3354483" cy="616111"/>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1" algn="ctr" defTabSz="913874">
                <a:spcBef>
                  <a:spcPts val="588"/>
                </a:spcBef>
                <a:spcAft>
                  <a:spcPts val="588"/>
                </a:spcAft>
              </a:pPr>
              <a:r>
                <a:rPr lang="en-US" sz="2353" kern="0" dirty="0">
                  <a:latin typeface="+mj-lt"/>
                </a:rPr>
                <a:t>Gain visibility and control </a:t>
              </a:r>
            </a:p>
          </p:txBody>
        </p:sp>
        <p:grpSp>
          <p:nvGrpSpPr>
            <p:cNvPr id="56" name="Group 55"/>
            <p:cNvGrpSpPr/>
            <p:nvPr/>
          </p:nvGrpSpPr>
          <p:grpSpPr>
            <a:xfrm>
              <a:off x="699297" y="2477622"/>
              <a:ext cx="2470940" cy="2462244"/>
              <a:chOff x="1005327" y="1670997"/>
              <a:chExt cx="2217321" cy="2209517"/>
            </a:xfrm>
          </p:grpSpPr>
          <p:sp>
            <p:nvSpPr>
              <p:cNvPr id="57" name="Oval 56"/>
              <p:cNvSpPr/>
              <p:nvPr/>
            </p:nvSpPr>
            <p:spPr bwMode="auto">
              <a:xfrm>
                <a:off x="1005327" y="1680539"/>
                <a:ext cx="2199975" cy="2199975"/>
              </a:xfrm>
              <a:prstGeom prst="ellipse">
                <a:avLst/>
              </a:prstGeom>
              <a:solidFill>
                <a:srgbClr val="FFFFFF"/>
              </a:solidFill>
              <a:ln w="98425" cap="flat" cmpd="sng" algn="ctr">
                <a:solidFill>
                  <a:srgbClr val="0072C6"/>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6"/>
              <p:cNvSpPr>
                <a:spLocks/>
              </p:cNvSpPr>
              <p:nvPr/>
            </p:nvSpPr>
            <p:spPr bwMode="auto">
              <a:xfrm>
                <a:off x="1683445" y="1773165"/>
                <a:ext cx="404743" cy="2062374"/>
              </a:xfrm>
              <a:custGeom>
                <a:avLst/>
                <a:gdLst>
                  <a:gd name="T0" fmla="*/ 0 w 94"/>
                  <a:gd name="T1" fmla="*/ 0 h 445"/>
                  <a:gd name="T2" fmla="*/ 0 w 94"/>
                  <a:gd name="T3" fmla="*/ 100 h 445"/>
                  <a:gd name="T4" fmla="*/ 14 w 94"/>
                  <a:gd name="T5" fmla="*/ 133 h 445"/>
                  <a:gd name="T6" fmla="*/ 47 w 94"/>
                  <a:gd name="T7" fmla="*/ 146 h 445"/>
                  <a:gd name="T8" fmla="*/ 63 w 94"/>
                  <a:gd name="T9" fmla="*/ 153 h 445"/>
                  <a:gd name="T10" fmla="*/ 70 w 94"/>
                  <a:gd name="T11" fmla="*/ 169 h 445"/>
                  <a:gd name="T12" fmla="*/ 70 w 94"/>
                  <a:gd name="T13" fmla="*/ 445 h 445"/>
                  <a:gd name="T14" fmla="*/ 94 w 94"/>
                  <a:gd name="T15" fmla="*/ 445 h 445"/>
                  <a:gd name="T16" fmla="*/ 94 w 94"/>
                  <a:gd name="T17" fmla="*/ 169 h 445"/>
                  <a:gd name="T18" fmla="*/ 80 w 94"/>
                  <a:gd name="T19" fmla="*/ 136 h 445"/>
                  <a:gd name="T20" fmla="*/ 47 w 94"/>
                  <a:gd name="T21" fmla="*/ 122 h 445"/>
                  <a:gd name="T22" fmla="*/ 31 w 94"/>
                  <a:gd name="T23" fmla="*/ 116 h 445"/>
                  <a:gd name="T24" fmla="*/ 24 w 94"/>
                  <a:gd name="T25" fmla="*/ 100 h 445"/>
                  <a:gd name="T26" fmla="*/ 24 w 94"/>
                  <a:gd name="T27" fmla="*/ 0 h 445"/>
                  <a:gd name="T28" fmla="*/ 0 w 94"/>
                  <a:gd name="T29" fmla="*/ 0 h 445"/>
                  <a:gd name="T30" fmla="*/ 0 w 94"/>
                  <a:gd name="T31"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445">
                    <a:moveTo>
                      <a:pt x="0" y="0"/>
                    </a:moveTo>
                    <a:cubicBezTo>
                      <a:pt x="0" y="100"/>
                      <a:pt x="0" y="100"/>
                      <a:pt x="0" y="100"/>
                    </a:cubicBezTo>
                    <a:cubicBezTo>
                      <a:pt x="0" y="112"/>
                      <a:pt x="5" y="124"/>
                      <a:pt x="14" y="133"/>
                    </a:cubicBezTo>
                    <a:cubicBezTo>
                      <a:pt x="22" y="141"/>
                      <a:pt x="34" y="146"/>
                      <a:pt x="47" y="146"/>
                    </a:cubicBezTo>
                    <a:cubicBezTo>
                      <a:pt x="53" y="146"/>
                      <a:pt x="59" y="149"/>
                      <a:pt x="63" y="153"/>
                    </a:cubicBezTo>
                    <a:cubicBezTo>
                      <a:pt x="67" y="157"/>
                      <a:pt x="70" y="163"/>
                      <a:pt x="70" y="169"/>
                    </a:cubicBezTo>
                    <a:cubicBezTo>
                      <a:pt x="70" y="445"/>
                      <a:pt x="70" y="445"/>
                      <a:pt x="70" y="445"/>
                    </a:cubicBezTo>
                    <a:cubicBezTo>
                      <a:pt x="94" y="445"/>
                      <a:pt x="94" y="445"/>
                      <a:pt x="94" y="445"/>
                    </a:cubicBezTo>
                    <a:cubicBezTo>
                      <a:pt x="94" y="169"/>
                      <a:pt x="94" y="169"/>
                      <a:pt x="94" y="169"/>
                    </a:cubicBezTo>
                    <a:cubicBezTo>
                      <a:pt x="94" y="156"/>
                      <a:pt x="88" y="144"/>
                      <a:pt x="80" y="136"/>
                    </a:cubicBezTo>
                    <a:cubicBezTo>
                      <a:pt x="71" y="128"/>
                      <a:pt x="60" y="122"/>
                      <a:pt x="47" y="122"/>
                    </a:cubicBezTo>
                    <a:cubicBezTo>
                      <a:pt x="40" y="122"/>
                      <a:pt x="35" y="120"/>
                      <a:pt x="31" y="116"/>
                    </a:cubicBezTo>
                    <a:cubicBezTo>
                      <a:pt x="27" y="112"/>
                      <a:pt x="24" y="106"/>
                      <a:pt x="24" y="100"/>
                    </a:cubicBezTo>
                    <a:cubicBezTo>
                      <a:pt x="24" y="0"/>
                      <a:pt x="24" y="0"/>
                      <a:pt x="24" y="0"/>
                    </a:cubicBezTo>
                    <a:cubicBezTo>
                      <a:pt x="0" y="0"/>
                      <a:pt x="0" y="0"/>
                      <a:pt x="0" y="0"/>
                    </a:cubicBezTo>
                    <a:cubicBezTo>
                      <a:pt x="0" y="0"/>
                      <a:pt x="0" y="0"/>
                      <a:pt x="0" y="0"/>
                    </a:cubicBezTo>
                  </a:path>
                </a:pathLst>
              </a:custGeom>
              <a:solidFill>
                <a:srgbClr val="26BB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0" name="Freeform 7"/>
              <p:cNvSpPr>
                <a:spLocks/>
              </p:cNvSpPr>
              <p:nvPr/>
            </p:nvSpPr>
            <p:spPr bwMode="auto">
              <a:xfrm>
                <a:off x="2244937" y="1716438"/>
                <a:ext cx="321779" cy="2109303"/>
              </a:xfrm>
              <a:custGeom>
                <a:avLst/>
                <a:gdLst>
                  <a:gd name="T0" fmla="*/ 60 w 76"/>
                  <a:gd name="T1" fmla="*/ 0 h 460"/>
                  <a:gd name="T2" fmla="*/ 60 w 76"/>
                  <a:gd name="T3" fmla="*/ 118 h 460"/>
                  <a:gd name="T4" fmla="*/ 40 w 76"/>
                  <a:gd name="T5" fmla="*/ 166 h 460"/>
                  <a:gd name="T6" fmla="*/ 25 w 76"/>
                  <a:gd name="T7" fmla="*/ 181 h 460"/>
                  <a:gd name="T8" fmla="*/ 0 w 76"/>
                  <a:gd name="T9" fmla="*/ 240 h 460"/>
                  <a:gd name="T10" fmla="*/ 0 w 76"/>
                  <a:gd name="T11" fmla="*/ 460 h 460"/>
                  <a:gd name="T12" fmla="*/ 16 w 76"/>
                  <a:gd name="T13" fmla="*/ 460 h 460"/>
                  <a:gd name="T14" fmla="*/ 16 w 76"/>
                  <a:gd name="T15" fmla="*/ 240 h 460"/>
                  <a:gd name="T16" fmla="*/ 36 w 76"/>
                  <a:gd name="T17" fmla="*/ 192 h 460"/>
                  <a:gd name="T18" fmla="*/ 51 w 76"/>
                  <a:gd name="T19" fmla="*/ 177 h 460"/>
                  <a:gd name="T20" fmla="*/ 76 w 76"/>
                  <a:gd name="T21" fmla="*/ 118 h 460"/>
                  <a:gd name="T22" fmla="*/ 76 w 76"/>
                  <a:gd name="T23" fmla="*/ 0 h 460"/>
                  <a:gd name="T24" fmla="*/ 60 w 76"/>
                  <a:gd name="T25" fmla="*/ 0 h 460"/>
                  <a:gd name="T26" fmla="*/ 60 w 76"/>
                  <a:gd name="T27"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460">
                    <a:moveTo>
                      <a:pt x="60" y="0"/>
                    </a:moveTo>
                    <a:cubicBezTo>
                      <a:pt x="60" y="118"/>
                      <a:pt x="60" y="118"/>
                      <a:pt x="60" y="118"/>
                    </a:cubicBezTo>
                    <a:cubicBezTo>
                      <a:pt x="60" y="136"/>
                      <a:pt x="53" y="153"/>
                      <a:pt x="40" y="166"/>
                    </a:cubicBezTo>
                    <a:cubicBezTo>
                      <a:pt x="25" y="181"/>
                      <a:pt x="25" y="181"/>
                      <a:pt x="25" y="181"/>
                    </a:cubicBezTo>
                    <a:cubicBezTo>
                      <a:pt x="9" y="197"/>
                      <a:pt x="0" y="218"/>
                      <a:pt x="0" y="240"/>
                    </a:cubicBezTo>
                    <a:cubicBezTo>
                      <a:pt x="0" y="460"/>
                      <a:pt x="0" y="460"/>
                      <a:pt x="0" y="460"/>
                    </a:cubicBezTo>
                    <a:cubicBezTo>
                      <a:pt x="16" y="460"/>
                      <a:pt x="16" y="460"/>
                      <a:pt x="16" y="460"/>
                    </a:cubicBezTo>
                    <a:cubicBezTo>
                      <a:pt x="16" y="240"/>
                      <a:pt x="16" y="240"/>
                      <a:pt x="16" y="240"/>
                    </a:cubicBezTo>
                    <a:cubicBezTo>
                      <a:pt x="16" y="222"/>
                      <a:pt x="23" y="205"/>
                      <a:pt x="36" y="192"/>
                    </a:cubicBezTo>
                    <a:cubicBezTo>
                      <a:pt x="51" y="177"/>
                      <a:pt x="51" y="177"/>
                      <a:pt x="51" y="177"/>
                    </a:cubicBezTo>
                    <a:cubicBezTo>
                      <a:pt x="67" y="161"/>
                      <a:pt x="76" y="140"/>
                      <a:pt x="76" y="118"/>
                    </a:cubicBezTo>
                    <a:cubicBezTo>
                      <a:pt x="76" y="0"/>
                      <a:pt x="76" y="0"/>
                      <a:pt x="76" y="0"/>
                    </a:cubicBezTo>
                    <a:cubicBezTo>
                      <a:pt x="60" y="0"/>
                      <a:pt x="60" y="0"/>
                      <a:pt x="60" y="0"/>
                    </a:cubicBezTo>
                    <a:cubicBezTo>
                      <a:pt x="60" y="0"/>
                      <a:pt x="60" y="0"/>
                      <a:pt x="60" y="0"/>
                    </a:cubicBezTo>
                  </a:path>
                </a:pathLst>
              </a:custGeom>
              <a:solidFill>
                <a:srgbClr val="2166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1" name="Rectangle 8"/>
              <p:cNvSpPr>
                <a:spLocks noChangeArrowheads="1"/>
              </p:cNvSpPr>
              <p:nvPr/>
            </p:nvSpPr>
            <p:spPr bwMode="auto">
              <a:xfrm>
                <a:off x="2717773" y="1912123"/>
                <a:ext cx="137930" cy="1725346"/>
              </a:xfrm>
              <a:prstGeom prst="rect">
                <a:avLst/>
              </a:prstGeom>
              <a:solidFill>
                <a:srgbClr val="26BB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2" name="Rectangle 9"/>
              <p:cNvSpPr>
                <a:spLocks noChangeArrowheads="1"/>
              </p:cNvSpPr>
              <p:nvPr/>
            </p:nvSpPr>
            <p:spPr bwMode="auto">
              <a:xfrm>
                <a:off x="2717773" y="1864337"/>
                <a:ext cx="105896" cy="1773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3" name="Rectangle 10"/>
              <p:cNvSpPr>
                <a:spLocks noChangeArrowheads="1"/>
              </p:cNvSpPr>
              <p:nvPr/>
            </p:nvSpPr>
            <p:spPr bwMode="auto">
              <a:xfrm>
                <a:off x="1306655" y="1978735"/>
                <a:ext cx="108359" cy="1580693"/>
              </a:xfrm>
              <a:prstGeom prst="rect">
                <a:avLst/>
              </a:prstGeom>
              <a:solidFill>
                <a:srgbClr val="26BB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4" name="Rectangle 11"/>
              <p:cNvSpPr>
                <a:spLocks noChangeArrowheads="1"/>
              </p:cNvSpPr>
              <p:nvPr/>
            </p:nvSpPr>
            <p:spPr bwMode="auto">
              <a:xfrm>
                <a:off x="1306655" y="1970232"/>
                <a:ext cx="108359" cy="151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5" name="Oval 12"/>
              <p:cNvSpPr>
                <a:spLocks noChangeArrowheads="1"/>
              </p:cNvSpPr>
              <p:nvPr/>
            </p:nvSpPr>
            <p:spPr bwMode="auto">
              <a:xfrm>
                <a:off x="1971580" y="2603141"/>
                <a:ext cx="618135" cy="618135"/>
              </a:xfrm>
              <a:prstGeom prst="ellipse">
                <a:avLst/>
              </a:prstGeom>
              <a:solidFill>
                <a:srgbClr val="D2D3D3"/>
              </a:solidFill>
              <a:ln w="9525">
                <a:solidFill>
                  <a:schemeClr val="accent1"/>
                </a:solidFill>
                <a:round/>
                <a:headEnd/>
                <a:tailEnd/>
              </a:ln>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6" name="Freeform 13"/>
              <p:cNvSpPr>
                <a:spLocks/>
              </p:cNvSpPr>
              <p:nvPr/>
            </p:nvSpPr>
            <p:spPr bwMode="auto">
              <a:xfrm>
                <a:off x="1944489" y="2576052"/>
                <a:ext cx="672314" cy="672314"/>
              </a:xfrm>
              <a:custGeom>
                <a:avLst/>
                <a:gdLst>
                  <a:gd name="T0" fmla="*/ 146 w 152"/>
                  <a:gd name="T1" fmla="*/ 76 h 152"/>
                  <a:gd name="T2" fmla="*/ 140 w 152"/>
                  <a:gd name="T3" fmla="*/ 76 h 152"/>
                  <a:gd name="T4" fmla="*/ 121 w 152"/>
                  <a:gd name="T5" fmla="*/ 121 h 152"/>
                  <a:gd name="T6" fmla="*/ 76 w 152"/>
                  <a:gd name="T7" fmla="*/ 140 h 152"/>
                  <a:gd name="T8" fmla="*/ 31 w 152"/>
                  <a:gd name="T9" fmla="*/ 121 h 152"/>
                  <a:gd name="T10" fmla="*/ 12 w 152"/>
                  <a:gd name="T11" fmla="*/ 76 h 152"/>
                  <a:gd name="T12" fmla="*/ 31 w 152"/>
                  <a:gd name="T13" fmla="*/ 31 h 152"/>
                  <a:gd name="T14" fmla="*/ 76 w 152"/>
                  <a:gd name="T15" fmla="*/ 12 h 152"/>
                  <a:gd name="T16" fmla="*/ 121 w 152"/>
                  <a:gd name="T17" fmla="*/ 31 h 152"/>
                  <a:gd name="T18" fmla="*/ 140 w 152"/>
                  <a:gd name="T19" fmla="*/ 76 h 152"/>
                  <a:gd name="T20" fmla="*/ 146 w 152"/>
                  <a:gd name="T21" fmla="*/ 76 h 152"/>
                  <a:gd name="T22" fmla="*/ 152 w 152"/>
                  <a:gd name="T23" fmla="*/ 76 h 152"/>
                  <a:gd name="T24" fmla="*/ 76 w 152"/>
                  <a:gd name="T25" fmla="*/ 0 h 152"/>
                  <a:gd name="T26" fmla="*/ 0 w 152"/>
                  <a:gd name="T27" fmla="*/ 76 h 152"/>
                  <a:gd name="T28" fmla="*/ 76 w 152"/>
                  <a:gd name="T29" fmla="*/ 152 h 152"/>
                  <a:gd name="T30" fmla="*/ 152 w 152"/>
                  <a:gd name="T31" fmla="*/ 76 h 152"/>
                  <a:gd name="T32" fmla="*/ 146 w 152"/>
                  <a:gd name="T33"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152">
                    <a:moveTo>
                      <a:pt x="146" y="76"/>
                    </a:moveTo>
                    <a:cubicBezTo>
                      <a:pt x="140" y="76"/>
                      <a:pt x="140" y="76"/>
                      <a:pt x="140" y="76"/>
                    </a:cubicBezTo>
                    <a:cubicBezTo>
                      <a:pt x="140" y="93"/>
                      <a:pt x="133" y="109"/>
                      <a:pt x="121" y="121"/>
                    </a:cubicBezTo>
                    <a:cubicBezTo>
                      <a:pt x="110" y="133"/>
                      <a:pt x="94" y="140"/>
                      <a:pt x="76" y="140"/>
                    </a:cubicBezTo>
                    <a:cubicBezTo>
                      <a:pt x="59" y="140"/>
                      <a:pt x="43" y="133"/>
                      <a:pt x="31" y="121"/>
                    </a:cubicBezTo>
                    <a:cubicBezTo>
                      <a:pt x="20" y="109"/>
                      <a:pt x="12" y="93"/>
                      <a:pt x="12" y="76"/>
                    </a:cubicBezTo>
                    <a:cubicBezTo>
                      <a:pt x="12" y="58"/>
                      <a:pt x="20" y="42"/>
                      <a:pt x="31" y="31"/>
                    </a:cubicBezTo>
                    <a:cubicBezTo>
                      <a:pt x="43" y="19"/>
                      <a:pt x="59" y="12"/>
                      <a:pt x="76" y="12"/>
                    </a:cubicBezTo>
                    <a:cubicBezTo>
                      <a:pt x="94" y="12"/>
                      <a:pt x="110" y="19"/>
                      <a:pt x="121" y="31"/>
                    </a:cubicBezTo>
                    <a:cubicBezTo>
                      <a:pt x="133" y="42"/>
                      <a:pt x="140" y="58"/>
                      <a:pt x="140" y="76"/>
                    </a:cubicBezTo>
                    <a:cubicBezTo>
                      <a:pt x="146" y="76"/>
                      <a:pt x="146" y="76"/>
                      <a:pt x="146" y="76"/>
                    </a:cubicBezTo>
                    <a:cubicBezTo>
                      <a:pt x="152" y="76"/>
                      <a:pt x="152" y="76"/>
                      <a:pt x="152" y="76"/>
                    </a:cubicBezTo>
                    <a:cubicBezTo>
                      <a:pt x="152" y="34"/>
                      <a:pt x="118" y="0"/>
                      <a:pt x="76" y="0"/>
                    </a:cubicBezTo>
                    <a:cubicBezTo>
                      <a:pt x="34" y="0"/>
                      <a:pt x="0" y="34"/>
                      <a:pt x="0" y="76"/>
                    </a:cubicBezTo>
                    <a:cubicBezTo>
                      <a:pt x="0" y="118"/>
                      <a:pt x="34" y="152"/>
                      <a:pt x="76" y="152"/>
                    </a:cubicBezTo>
                    <a:cubicBezTo>
                      <a:pt x="118" y="152"/>
                      <a:pt x="152" y="118"/>
                      <a:pt x="152" y="76"/>
                    </a:cubicBezTo>
                    <a:cubicBezTo>
                      <a:pt x="146" y="76"/>
                      <a:pt x="146" y="76"/>
                      <a:pt x="146" y="76"/>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7" name="Freeform 14"/>
              <p:cNvSpPr>
                <a:spLocks/>
              </p:cNvSpPr>
              <p:nvPr/>
            </p:nvSpPr>
            <p:spPr bwMode="auto">
              <a:xfrm>
                <a:off x="2210459" y="2704113"/>
                <a:ext cx="140374" cy="265970"/>
              </a:xfrm>
              <a:custGeom>
                <a:avLst/>
                <a:gdLst>
                  <a:gd name="T0" fmla="*/ 14 w 57"/>
                  <a:gd name="T1" fmla="*/ 108 h 108"/>
                  <a:gd name="T2" fmla="*/ 0 w 57"/>
                  <a:gd name="T3" fmla="*/ 0 h 108"/>
                  <a:gd name="T4" fmla="*/ 57 w 57"/>
                  <a:gd name="T5" fmla="*/ 0 h 108"/>
                  <a:gd name="T6" fmla="*/ 46 w 57"/>
                  <a:gd name="T7" fmla="*/ 108 h 108"/>
                  <a:gd name="T8" fmla="*/ 14 w 57"/>
                  <a:gd name="T9" fmla="*/ 108 h 108"/>
                </a:gdLst>
                <a:ahLst/>
                <a:cxnLst>
                  <a:cxn ang="0">
                    <a:pos x="T0" y="T1"/>
                  </a:cxn>
                  <a:cxn ang="0">
                    <a:pos x="T2" y="T3"/>
                  </a:cxn>
                  <a:cxn ang="0">
                    <a:pos x="T4" y="T5"/>
                  </a:cxn>
                  <a:cxn ang="0">
                    <a:pos x="T6" y="T7"/>
                  </a:cxn>
                  <a:cxn ang="0">
                    <a:pos x="T8" y="T9"/>
                  </a:cxn>
                </a:cxnLst>
                <a:rect l="0" t="0" r="r" b="b"/>
                <a:pathLst>
                  <a:path w="57" h="108">
                    <a:moveTo>
                      <a:pt x="14" y="108"/>
                    </a:moveTo>
                    <a:lnTo>
                      <a:pt x="0" y="0"/>
                    </a:lnTo>
                    <a:lnTo>
                      <a:pt x="57" y="0"/>
                    </a:lnTo>
                    <a:lnTo>
                      <a:pt x="46" y="108"/>
                    </a:lnTo>
                    <a:lnTo>
                      <a:pt x="14" y="10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8" name="Freeform 15"/>
              <p:cNvSpPr>
                <a:spLocks/>
              </p:cNvSpPr>
              <p:nvPr/>
            </p:nvSpPr>
            <p:spPr bwMode="auto">
              <a:xfrm>
                <a:off x="2210459" y="2704113"/>
                <a:ext cx="140374" cy="265970"/>
              </a:xfrm>
              <a:custGeom>
                <a:avLst/>
                <a:gdLst>
                  <a:gd name="T0" fmla="*/ 14 w 57"/>
                  <a:gd name="T1" fmla="*/ 108 h 108"/>
                  <a:gd name="T2" fmla="*/ 0 w 57"/>
                  <a:gd name="T3" fmla="*/ 0 h 108"/>
                  <a:gd name="T4" fmla="*/ 57 w 57"/>
                  <a:gd name="T5" fmla="*/ 0 h 108"/>
                  <a:gd name="T6" fmla="*/ 46 w 57"/>
                  <a:gd name="T7" fmla="*/ 108 h 108"/>
                  <a:gd name="T8" fmla="*/ 14 w 57"/>
                  <a:gd name="T9" fmla="*/ 108 h 108"/>
                </a:gdLst>
                <a:ahLst/>
                <a:cxnLst>
                  <a:cxn ang="0">
                    <a:pos x="T0" y="T1"/>
                  </a:cxn>
                  <a:cxn ang="0">
                    <a:pos x="T2" y="T3"/>
                  </a:cxn>
                  <a:cxn ang="0">
                    <a:pos x="T4" y="T5"/>
                  </a:cxn>
                  <a:cxn ang="0">
                    <a:pos x="T6" y="T7"/>
                  </a:cxn>
                  <a:cxn ang="0">
                    <a:pos x="T8" y="T9"/>
                  </a:cxn>
                </a:cxnLst>
                <a:rect l="0" t="0" r="r" b="b"/>
                <a:pathLst>
                  <a:path w="57" h="108">
                    <a:moveTo>
                      <a:pt x="14" y="108"/>
                    </a:moveTo>
                    <a:lnTo>
                      <a:pt x="0" y="0"/>
                    </a:lnTo>
                    <a:lnTo>
                      <a:pt x="57" y="0"/>
                    </a:lnTo>
                    <a:lnTo>
                      <a:pt x="46" y="108"/>
                    </a:lnTo>
                    <a:lnTo>
                      <a:pt x="14"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69" name="Rectangle 16"/>
              <p:cNvSpPr>
                <a:spLocks noChangeArrowheads="1"/>
              </p:cNvSpPr>
              <p:nvPr/>
            </p:nvSpPr>
            <p:spPr bwMode="auto">
              <a:xfrm>
                <a:off x="2244937" y="3039038"/>
                <a:ext cx="73880" cy="76344"/>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70" name="Freeform 28"/>
              <p:cNvSpPr>
                <a:spLocks/>
              </p:cNvSpPr>
              <p:nvPr/>
            </p:nvSpPr>
            <p:spPr bwMode="auto">
              <a:xfrm>
                <a:off x="2210459" y="2704113"/>
                <a:ext cx="140374" cy="49254"/>
              </a:xfrm>
              <a:custGeom>
                <a:avLst/>
                <a:gdLst>
                  <a:gd name="T0" fmla="*/ 57 w 57"/>
                  <a:gd name="T1" fmla="*/ 0 h 20"/>
                  <a:gd name="T2" fmla="*/ 0 w 57"/>
                  <a:gd name="T3" fmla="*/ 0 h 20"/>
                  <a:gd name="T4" fmla="*/ 3 w 57"/>
                  <a:gd name="T5" fmla="*/ 20 h 20"/>
                  <a:gd name="T6" fmla="*/ 57 w 57"/>
                  <a:gd name="T7" fmla="*/ 11 h 20"/>
                  <a:gd name="T8" fmla="*/ 57 w 57"/>
                  <a:gd name="T9" fmla="*/ 0 h 20"/>
                </a:gdLst>
                <a:ahLst/>
                <a:cxnLst>
                  <a:cxn ang="0">
                    <a:pos x="T0" y="T1"/>
                  </a:cxn>
                  <a:cxn ang="0">
                    <a:pos x="T2" y="T3"/>
                  </a:cxn>
                  <a:cxn ang="0">
                    <a:pos x="T4" y="T5"/>
                  </a:cxn>
                  <a:cxn ang="0">
                    <a:pos x="T6" y="T7"/>
                  </a:cxn>
                  <a:cxn ang="0">
                    <a:pos x="T8" y="T9"/>
                  </a:cxn>
                </a:cxnLst>
                <a:rect l="0" t="0" r="r" b="b"/>
                <a:pathLst>
                  <a:path w="57" h="20">
                    <a:moveTo>
                      <a:pt x="57" y="0"/>
                    </a:moveTo>
                    <a:lnTo>
                      <a:pt x="0" y="0"/>
                    </a:lnTo>
                    <a:lnTo>
                      <a:pt x="3" y="20"/>
                    </a:lnTo>
                    <a:lnTo>
                      <a:pt x="57" y="11"/>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505050"/>
                  </a:solidFill>
                </a:endParaRPr>
              </a:p>
            </p:txBody>
          </p:sp>
          <p:sp>
            <p:nvSpPr>
              <p:cNvPr id="71" name="Oval 70"/>
              <p:cNvSpPr/>
              <p:nvPr/>
            </p:nvSpPr>
            <p:spPr bwMode="auto">
              <a:xfrm>
                <a:off x="1022673" y="1670997"/>
                <a:ext cx="2199975" cy="2199975"/>
              </a:xfrm>
              <a:prstGeom prst="ellipse">
                <a:avLst/>
              </a:prstGeom>
              <a:noFill/>
              <a:ln w="98425" cap="flat" cmpd="sng" algn="ctr">
                <a:solidFill>
                  <a:srgbClr val="0072C6"/>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Rectangle 28"/>
            <p:cNvSpPr/>
            <p:nvPr/>
          </p:nvSpPr>
          <p:spPr bwMode="auto">
            <a:xfrm>
              <a:off x="4264736" y="5445845"/>
              <a:ext cx="3802617" cy="655309"/>
            </a:xfrm>
            <a:prstGeom prst="rect">
              <a:avLst/>
            </a:prstGeom>
            <a:noFill/>
            <a:ln w="9525" cap="flat" cmpd="sng" algn="ctr">
              <a:noFill/>
              <a:prstDash val="solid"/>
              <a:headEnd type="none" w="med" len="med"/>
              <a:tailEnd type="none" w="med" len="med"/>
            </a:ln>
            <a:effectLst/>
          </p:spPr>
          <p:txBody>
            <a:bodyPr lIns="179234" tIns="143387" rIns="179234" bIns="143387"/>
            <a:lstStyle/>
            <a:p>
              <a:pPr algn="ctr" defTabSz="913963">
                <a:spcBef>
                  <a:spcPts val="588"/>
                </a:spcBef>
                <a:spcAft>
                  <a:spcPts val="588"/>
                </a:spcAft>
                <a:defRPr/>
              </a:pPr>
              <a:r>
                <a:rPr lang="en-US" sz="2353" kern="0" dirty="0">
                  <a:latin typeface="+mj-lt"/>
                </a:rPr>
                <a:t>Enable security at cloud speed</a:t>
              </a:r>
              <a:endParaRPr lang="en-US" sz="1078" kern="0" dirty="0">
                <a:latin typeface="+mj-lt"/>
              </a:endParaRPr>
            </a:p>
          </p:txBody>
        </p:sp>
        <p:grpSp>
          <p:nvGrpSpPr>
            <p:cNvPr id="77" name="Group 76"/>
            <p:cNvGrpSpPr/>
            <p:nvPr/>
          </p:nvGrpSpPr>
          <p:grpSpPr>
            <a:xfrm>
              <a:off x="4406527" y="1964685"/>
              <a:ext cx="3016066" cy="3089451"/>
              <a:chOff x="3150690" y="2633528"/>
              <a:chExt cx="2705726" cy="2771560"/>
            </a:xfrm>
          </p:grpSpPr>
          <p:sp>
            <p:nvSpPr>
              <p:cNvPr id="78" name="Oval 77"/>
              <p:cNvSpPr/>
              <p:nvPr/>
            </p:nvSpPr>
            <p:spPr bwMode="auto">
              <a:xfrm>
                <a:off x="3657065" y="3205737"/>
                <a:ext cx="2199351" cy="2199351"/>
              </a:xfrm>
              <a:prstGeom prst="ellipse">
                <a:avLst/>
              </a:prstGeom>
              <a:solidFill>
                <a:srgbClr val="FFFFFF"/>
              </a:solidFill>
              <a:ln w="98425" cap="flat" cmpd="sng" algn="ctr">
                <a:solidFill>
                  <a:srgbClr val="0072C6"/>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50690" y="2633528"/>
                <a:ext cx="2356026" cy="2746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 name="Rectangle 27"/>
            <p:cNvSpPr/>
            <p:nvPr/>
          </p:nvSpPr>
          <p:spPr bwMode="auto">
            <a:xfrm>
              <a:off x="8580437" y="5454223"/>
              <a:ext cx="3733799" cy="560180"/>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1" algn="ctr" defTabSz="913874">
                <a:spcBef>
                  <a:spcPts val="588"/>
                </a:spcBef>
                <a:spcAft>
                  <a:spcPts val="588"/>
                </a:spcAft>
              </a:pPr>
              <a:r>
                <a:rPr lang="en-US" sz="2353" kern="0" dirty="0">
                  <a:latin typeface="+mj-lt"/>
                </a:rPr>
                <a:t>Keep up with cyber threats</a:t>
              </a:r>
            </a:p>
          </p:txBody>
        </p:sp>
        <p:sp>
          <p:nvSpPr>
            <p:cNvPr id="82" name="Oval 81"/>
            <p:cNvSpPr/>
            <p:nvPr/>
          </p:nvSpPr>
          <p:spPr bwMode="auto">
            <a:xfrm>
              <a:off x="9174813" y="2537021"/>
              <a:ext cx="2451611" cy="2451611"/>
            </a:xfrm>
            <a:prstGeom prst="ellipse">
              <a:avLst/>
            </a:prstGeom>
            <a:solidFill>
              <a:srgbClr val="FFFFFF"/>
            </a:solidFill>
            <a:ln w="98425" cap="flat" cmpd="sng" algn="ctr">
              <a:solidFill>
                <a:srgbClr val="0072C6"/>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2"/>
            <p:cNvPicPr>
              <a:picLocks noChangeAspect="1"/>
            </p:cNvPicPr>
            <p:nvPr/>
          </p:nvPicPr>
          <p:blipFill>
            <a:blip r:embed="rId4"/>
            <a:stretch>
              <a:fillRect/>
            </a:stretch>
          </p:blipFill>
          <p:spPr>
            <a:xfrm>
              <a:off x="9067751" y="2746329"/>
              <a:ext cx="2233110" cy="2203282"/>
            </a:xfrm>
            <a:prstGeom prst="rect">
              <a:avLst/>
            </a:prstGeom>
          </p:spPr>
        </p:pic>
      </p:grpSp>
    </p:spTree>
    <p:extLst>
      <p:ext uri="{BB962C8B-B14F-4D97-AF65-F5344CB8AC3E}">
        <p14:creationId xmlns:p14="http://schemas.microsoft.com/office/powerpoint/2010/main" val="200545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29681" y="2168333"/>
            <a:ext cx="2695885" cy="2520534"/>
          </a:xfrm>
          <a:prstGeom prst="rect">
            <a:avLst/>
          </a:prstGeom>
          <a:solidFill>
            <a:srgbClr val="D83B01"/>
          </a:solidFill>
          <a:ln w="25400" cap="flat" cmpd="sng" algn="ctr">
            <a:noFill/>
            <a:prstDash val="solid"/>
            <a:headEnd type="none" w="med" len="med"/>
            <a:tailEnd type="none" w="med" len="med"/>
          </a:ln>
          <a:effectLst/>
        </p:spPr>
        <p:txBody>
          <a:bodyPr vert="horz" wrap="square" lIns="182854" tIns="45711" rIns="89642" bIns="45711" numCol="1" rtlCol="0" anchor="ctr" anchorCtr="0" compatLnSpc="1">
            <a:prstTxWarp prst="textNoShape">
              <a:avLst/>
            </a:prstTxWarp>
          </a:bodyPr>
          <a:lstStyle/>
          <a:p>
            <a:pPr marL="690430" defTabSz="913924" fontAlgn="base">
              <a:spcBef>
                <a:spcPct val="0"/>
              </a:spcBef>
              <a:spcAft>
                <a:spcPct val="0"/>
              </a:spcAft>
              <a:defRPr/>
            </a:pPr>
            <a:endParaRPr lang="en-US" sz="784" b="1" kern="0" dirty="0">
              <a:solidFill>
                <a:schemeClr val="bg1"/>
              </a:solidFill>
            </a:endParaRPr>
          </a:p>
          <a:p>
            <a:pPr marL="672290" defTabSz="913924" fontAlgn="base">
              <a:spcBef>
                <a:spcPct val="0"/>
              </a:spcBef>
              <a:spcAft>
                <a:spcPct val="0"/>
              </a:spcAft>
              <a:defRPr/>
            </a:pPr>
            <a:r>
              <a:rPr lang="en-US" sz="1961" b="1" kern="0" dirty="0">
                <a:solidFill>
                  <a:schemeClr val="bg1"/>
                </a:solidFill>
              </a:rPr>
              <a:t>Jeff</a:t>
            </a:r>
          </a:p>
          <a:p>
            <a:pPr marL="672290" defTabSz="913924" fontAlgn="base">
              <a:spcBef>
                <a:spcPct val="0"/>
              </a:spcBef>
              <a:spcAft>
                <a:spcPct val="0"/>
              </a:spcAft>
              <a:defRPr/>
            </a:pPr>
            <a:r>
              <a:rPr lang="en-US" sz="1568" b="1" kern="0" dirty="0">
                <a:solidFill>
                  <a:schemeClr val="bg1"/>
                </a:solidFill>
              </a:rPr>
              <a:t>Cloud Workload Owner</a:t>
            </a:r>
            <a:endParaRPr lang="en-US" sz="1176" kern="0" dirty="0">
              <a:solidFill>
                <a:schemeClr val="bg1"/>
              </a:solidFill>
            </a:endParaRPr>
          </a:p>
          <a:p>
            <a:pPr defTabSz="914225">
              <a:spcBef>
                <a:spcPts val="1765"/>
              </a:spcBef>
              <a:defRPr/>
            </a:pPr>
            <a:r>
              <a:rPr lang="en-US" sz="1568" kern="0" dirty="0">
                <a:solidFill>
                  <a:schemeClr val="bg1"/>
                </a:solidFill>
              </a:rPr>
              <a:t>Manages a cloud workload and its related resources </a:t>
            </a:r>
            <a:br>
              <a:rPr lang="en-US" sz="1568" kern="0" dirty="0">
                <a:solidFill>
                  <a:schemeClr val="bg1"/>
                </a:solidFill>
              </a:rPr>
            </a:br>
            <a:r>
              <a:rPr lang="en-US" sz="1568" kern="0" spc="-29" dirty="0">
                <a:solidFill>
                  <a:schemeClr val="bg1"/>
                </a:solidFill>
              </a:rPr>
              <a:t>(often in a DevOps role)</a:t>
            </a:r>
          </a:p>
          <a:p>
            <a:pPr defTabSz="914225">
              <a:spcBef>
                <a:spcPts val="1765"/>
              </a:spcBef>
              <a:defRPr/>
            </a:pPr>
            <a:endParaRPr lang="en-US" sz="1568" kern="0" spc="-29" dirty="0">
              <a:solidFill>
                <a:schemeClr val="bg1"/>
              </a:solidFill>
            </a:endParaRPr>
          </a:p>
        </p:txBody>
      </p:sp>
      <p:grpSp>
        <p:nvGrpSpPr>
          <p:cNvPr id="69" name="Group 68"/>
          <p:cNvGrpSpPr>
            <a:grpSpLocks noChangeAspect="1"/>
          </p:cNvGrpSpPr>
          <p:nvPr/>
        </p:nvGrpSpPr>
        <p:grpSpPr>
          <a:xfrm>
            <a:off x="526223" y="2421641"/>
            <a:ext cx="666804" cy="762349"/>
            <a:chOff x="4938019" y="2712918"/>
            <a:chExt cx="616634" cy="731133"/>
          </a:xfrm>
          <a:solidFill>
            <a:schemeClr val="bg1"/>
          </a:solidFill>
        </p:grpSpPr>
        <p:sp>
          <p:nvSpPr>
            <p:cNvPr id="70" name="Freeform 393"/>
            <p:cNvSpPr>
              <a:spLocks/>
            </p:cNvSpPr>
            <p:nvPr/>
          </p:nvSpPr>
          <p:spPr bwMode="auto">
            <a:xfrm>
              <a:off x="5186854" y="2975530"/>
              <a:ext cx="126914" cy="33108"/>
            </a:xfrm>
            <a:custGeom>
              <a:avLst/>
              <a:gdLst>
                <a:gd name="T0" fmla="*/ 38 w 39"/>
                <a:gd name="T1" fmla="*/ 5 h 10"/>
                <a:gd name="T2" fmla="*/ 31 w 39"/>
                <a:gd name="T3" fmla="*/ 2 h 10"/>
                <a:gd name="T4" fmla="*/ 20 w 39"/>
                <a:gd name="T5" fmla="*/ 1 h 10"/>
                <a:gd name="T6" fmla="*/ 7 w 39"/>
                <a:gd name="T7" fmla="*/ 2 h 10"/>
                <a:gd name="T8" fmla="*/ 1 w 39"/>
                <a:gd name="T9" fmla="*/ 5 h 10"/>
                <a:gd name="T10" fmla="*/ 7 w 39"/>
                <a:gd name="T11" fmla="*/ 10 h 10"/>
                <a:gd name="T12" fmla="*/ 18 w 39"/>
                <a:gd name="T13" fmla="*/ 7 h 10"/>
                <a:gd name="T14" fmla="*/ 20 w 39"/>
                <a:gd name="T15" fmla="*/ 7 h 10"/>
                <a:gd name="T16" fmla="*/ 21 w 39"/>
                <a:gd name="T17" fmla="*/ 7 h 10"/>
                <a:gd name="T18" fmla="*/ 31 w 39"/>
                <a:gd name="T19" fmla="*/ 10 h 10"/>
                <a:gd name="T20" fmla="*/ 38 w 39"/>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0">
                  <a:moveTo>
                    <a:pt x="38" y="5"/>
                  </a:moveTo>
                  <a:cubicBezTo>
                    <a:pt x="37" y="5"/>
                    <a:pt x="35" y="4"/>
                    <a:pt x="31" y="2"/>
                  </a:cubicBezTo>
                  <a:cubicBezTo>
                    <a:pt x="28" y="0"/>
                    <a:pt x="20" y="1"/>
                    <a:pt x="20" y="1"/>
                  </a:cubicBezTo>
                  <a:cubicBezTo>
                    <a:pt x="20" y="1"/>
                    <a:pt x="11" y="0"/>
                    <a:pt x="7" y="2"/>
                  </a:cubicBezTo>
                  <a:cubicBezTo>
                    <a:pt x="4" y="4"/>
                    <a:pt x="2" y="5"/>
                    <a:pt x="1" y="5"/>
                  </a:cubicBezTo>
                  <a:cubicBezTo>
                    <a:pt x="0" y="5"/>
                    <a:pt x="4" y="10"/>
                    <a:pt x="7" y="10"/>
                  </a:cubicBezTo>
                  <a:cubicBezTo>
                    <a:pt x="10" y="9"/>
                    <a:pt x="15" y="7"/>
                    <a:pt x="18" y="7"/>
                  </a:cubicBezTo>
                  <a:cubicBezTo>
                    <a:pt x="19" y="7"/>
                    <a:pt x="19" y="7"/>
                    <a:pt x="20" y="7"/>
                  </a:cubicBezTo>
                  <a:cubicBezTo>
                    <a:pt x="20" y="7"/>
                    <a:pt x="20" y="7"/>
                    <a:pt x="21" y="7"/>
                  </a:cubicBezTo>
                  <a:cubicBezTo>
                    <a:pt x="23" y="7"/>
                    <a:pt x="28" y="9"/>
                    <a:pt x="31" y="10"/>
                  </a:cubicBezTo>
                  <a:cubicBezTo>
                    <a:pt x="34" y="10"/>
                    <a:pt x="39" y="5"/>
                    <a:pt x="3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nvGrpSpPr>
            <p:cNvPr id="72" name="Group 71"/>
            <p:cNvGrpSpPr/>
            <p:nvPr/>
          </p:nvGrpSpPr>
          <p:grpSpPr>
            <a:xfrm>
              <a:off x="4938019" y="3092279"/>
              <a:ext cx="616634" cy="351772"/>
              <a:chOff x="6464668" y="4863673"/>
              <a:chExt cx="616634" cy="351772"/>
            </a:xfrm>
            <a:grpFill/>
          </p:grpSpPr>
          <p:sp>
            <p:nvSpPr>
              <p:cNvPr id="74" name="Freeform 397"/>
              <p:cNvSpPr>
                <a:spLocks/>
              </p:cNvSpPr>
              <p:nvPr/>
            </p:nvSpPr>
            <p:spPr bwMode="auto">
              <a:xfrm>
                <a:off x="6732290" y="4899540"/>
                <a:ext cx="91047" cy="315905"/>
              </a:xfrm>
              <a:custGeom>
                <a:avLst/>
                <a:gdLst>
                  <a:gd name="T0" fmla="*/ 25 w 28"/>
                  <a:gd name="T1" fmla="*/ 41 h 97"/>
                  <a:gd name="T2" fmla="*/ 18 w 28"/>
                  <a:gd name="T3" fmla="*/ 25 h 97"/>
                  <a:gd name="T4" fmla="*/ 21 w 28"/>
                  <a:gd name="T5" fmla="*/ 15 h 97"/>
                  <a:gd name="T6" fmla="*/ 21 w 28"/>
                  <a:gd name="T7" fmla="*/ 2 h 97"/>
                  <a:gd name="T8" fmla="*/ 14 w 28"/>
                  <a:gd name="T9" fmla="*/ 0 h 97"/>
                  <a:gd name="T10" fmla="*/ 8 w 28"/>
                  <a:gd name="T11" fmla="*/ 2 h 97"/>
                  <a:gd name="T12" fmla="*/ 8 w 28"/>
                  <a:gd name="T13" fmla="*/ 15 h 97"/>
                  <a:gd name="T14" fmla="*/ 11 w 28"/>
                  <a:gd name="T15" fmla="*/ 25 h 97"/>
                  <a:gd name="T16" fmla="*/ 4 w 28"/>
                  <a:gd name="T17" fmla="*/ 41 h 97"/>
                  <a:gd name="T18" fmla="*/ 0 w 28"/>
                  <a:gd name="T19" fmla="*/ 97 h 97"/>
                  <a:gd name="T20" fmla="*/ 13 w 28"/>
                  <a:gd name="T21" fmla="*/ 97 h 97"/>
                  <a:gd name="T22" fmla="*/ 15 w 28"/>
                  <a:gd name="T23" fmla="*/ 97 h 97"/>
                  <a:gd name="T24" fmla="*/ 28 w 28"/>
                  <a:gd name="T25" fmla="*/ 97 h 97"/>
                  <a:gd name="T26" fmla="*/ 25 w 28"/>
                  <a:gd name="T27" fmla="*/ 4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7">
                    <a:moveTo>
                      <a:pt x="25" y="41"/>
                    </a:moveTo>
                    <a:cubicBezTo>
                      <a:pt x="21" y="33"/>
                      <a:pt x="18" y="28"/>
                      <a:pt x="18" y="25"/>
                    </a:cubicBezTo>
                    <a:cubicBezTo>
                      <a:pt x="18" y="21"/>
                      <a:pt x="20" y="18"/>
                      <a:pt x="21" y="15"/>
                    </a:cubicBezTo>
                    <a:cubicBezTo>
                      <a:pt x="22" y="12"/>
                      <a:pt x="24" y="3"/>
                      <a:pt x="21" y="2"/>
                    </a:cubicBezTo>
                    <a:cubicBezTo>
                      <a:pt x="18" y="0"/>
                      <a:pt x="16" y="0"/>
                      <a:pt x="14" y="0"/>
                    </a:cubicBezTo>
                    <a:cubicBezTo>
                      <a:pt x="13" y="0"/>
                      <a:pt x="10" y="0"/>
                      <a:pt x="8" y="2"/>
                    </a:cubicBezTo>
                    <a:cubicBezTo>
                      <a:pt x="4" y="3"/>
                      <a:pt x="7" y="12"/>
                      <a:pt x="8" y="15"/>
                    </a:cubicBezTo>
                    <a:cubicBezTo>
                      <a:pt x="9" y="18"/>
                      <a:pt x="11" y="21"/>
                      <a:pt x="11" y="25"/>
                    </a:cubicBezTo>
                    <a:cubicBezTo>
                      <a:pt x="11" y="28"/>
                      <a:pt x="7" y="33"/>
                      <a:pt x="4" y="41"/>
                    </a:cubicBezTo>
                    <a:cubicBezTo>
                      <a:pt x="1" y="49"/>
                      <a:pt x="0" y="97"/>
                      <a:pt x="0" y="97"/>
                    </a:cubicBezTo>
                    <a:cubicBezTo>
                      <a:pt x="13" y="97"/>
                      <a:pt x="13" y="97"/>
                      <a:pt x="13" y="97"/>
                    </a:cubicBezTo>
                    <a:cubicBezTo>
                      <a:pt x="15" y="97"/>
                      <a:pt x="15" y="97"/>
                      <a:pt x="15" y="97"/>
                    </a:cubicBezTo>
                    <a:cubicBezTo>
                      <a:pt x="28" y="97"/>
                      <a:pt x="28" y="97"/>
                      <a:pt x="28" y="97"/>
                    </a:cubicBezTo>
                    <a:cubicBezTo>
                      <a:pt x="28" y="97"/>
                      <a:pt x="28" y="49"/>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5" name="Freeform 398"/>
              <p:cNvSpPr>
                <a:spLocks/>
              </p:cNvSpPr>
              <p:nvPr/>
            </p:nvSpPr>
            <p:spPr bwMode="auto">
              <a:xfrm>
                <a:off x="6852306" y="4863673"/>
                <a:ext cx="228996" cy="351772"/>
              </a:xfrm>
              <a:custGeom>
                <a:avLst/>
                <a:gdLst>
                  <a:gd name="T0" fmla="*/ 63 w 70"/>
                  <a:gd name="T1" fmla="*/ 35 h 108"/>
                  <a:gd name="T2" fmla="*/ 10 w 70"/>
                  <a:gd name="T3" fmla="*/ 4 h 108"/>
                  <a:gd name="T4" fmla="*/ 2 w 70"/>
                  <a:gd name="T5" fmla="*/ 0 h 108"/>
                  <a:gd name="T6" fmla="*/ 0 w 70"/>
                  <a:gd name="T7" fmla="*/ 9 h 108"/>
                  <a:gd name="T8" fmla="*/ 7 w 70"/>
                  <a:gd name="T9" fmla="*/ 13 h 108"/>
                  <a:gd name="T10" fmla="*/ 54 w 70"/>
                  <a:gd name="T11" fmla="*/ 41 h 108"/>
                  <a:gd name="T12" fmla="*/ 59 w 70"/>
                  <a:gd name="T13" fmla="*/ 108 h 108"/>
                  <a:gd name="T14" fmla="*/ 68 w 70"/>
                  <a:gd name="T15" fmla="*/ 108 h 108"/>
                  <a:gd name="T16" fmla="*/ 63 w 70"/>
                  <a:gd name="T17" fmla="*/ 3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8">
                    <a:moveTo>
                      <a:pt x="63" y="35"/>
                    </a:moveTo>
                    <a:cubicBezTo>
                      <a:pt x="57" y="24"/>
                      <a:pt x="34" y="18"/>
                      <a:pt x="10" y="4"/>
                    </a:cubicBezTo>
                    <a:cubicBezTo>
                      <a:pt x="8" y="3"/>
                      <a:pt x="5" y="1"/>
                      <a:pt x="2" y="0"/>
                    </a:cubicBezTo>
                    <a:cubicBezTo>
                      <a:pt x="0" y="9"/>
                      <a:pt x="0" y="9"/>
                      <a:pt x="0" y="9"/>
                    </a:cubicBezTo>
                    <a:cubicBezTo>
                      <a:pt x="2" y="10"/>
                      <a:pt x="5" y="11"/>
                      <a:pt x="7" y="13"/>
                    </a:cubicBezTo>
                    <a:cubicBezTo>
                      <a:pt x="28" y="25"/>
                      <a:pt x="49" y="31"/>
                      <a:pt x="54" y="41"/>
                    </a:cubicBezTo>
                    <a:cubicBezTo>
                      <a:pt x="60" y="50"/>
                      <a:pt x="59" y="108"/>
                      <a:pt x="59" y="108"/>
                    </a:cubicBezTo>
                    <a:cubicBezTo>
                      <a:pt x="68" y="108"/>
                      <a:pt x="68" y="108"/>
                      <a:pt x="68" y="108"/>
                    </a:cubicBezTo>
                    <a:cubicBezTo>
                      <a:pt x="68" y="108"/>
                      <a:pt x="70" y="45"/>
                      <a:pt x="6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6" name="Freeform 399"/>
              <p:cNvSpPr>
                <a:spLocks/>
              </p:cNvSpPr>
              <p:nvPr/>
            </p:nvSpPr>
            <p:spPr bwMode="auto">
              <a:xfrm>
                <a:off x="6464668" y="4863673"/>
                <a:ext cx="241412" cy="351772"/>
              </a:xfrm>
              <a:custGeom>
                <a:avLst/>
                <a:gdLst>
                  <a:gd name="T0" fmla="*/ 72 w 74"/>
                  <a:gd name="T1" fmla="*/ 0 h 108"/>
                  <a:gd name="T2" fmla="*/ 60 w 74"/>
                  <a:gd name="T3" fmla="*/ 4 h 108"/>
                  <a:gd name="T4" fmla="*/ 7 w 74"/>
                  <a:gd name="T5" fmla="*/ 35 h 108"/>
                  <a:gd name="T6" fmla="*/ 2 w 74"/>
                  <a:gd name="T7" fmla="*/ 108 h 108"/>
                  <a:gd name="T8" fmla="*/ 11 w 74"/>
                  <a:gd name="T9" fmla="*/ 108 h 108"/>
                  <a:gd name="T10" fmla="*/ 16 w 74"/>
                  <a:gd name="T11" fmla="*/ 41 h 108"/>
                  <a:gd name="T12" fmla="*/ 64 w 74"/>
                  <a:gd name="T13" fmla="*/ 13 h 108"/>
                  <a:gd name="T14" fmla="*/ 74 w 74"/>
                  <a:gd name="T15" fmla="*/ 8 h 108"/>
                  <a:gd name="T16" fmla="*/ 72 w 74"/>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08">
                    <a:moveTo>
                      <a:pt x="72" y="0"/>
                    </a:moveTo>
                    <a:cubicBezTo>
                      <a:pt x="68" y="1"/>
                      <a:pt x="64" y="2"/>
                      <a:pt x="60" y="4"/>
                    </a:cubicBezTo>
                    <a:cubicBezTo>
                      <a:pt x="36" y="17"/>
                      <a:pt x="13" y="24"/>
                      <a:pt x="7" y="35"/>
                    </a:cubicBezTo>
                    <a:cubicBezTo>
                      <a:pt x="0" y="45"/>
                      <a:pt x="2" y="108"/>
                      <a:pt x="2" y="108"/>
                    </a:cubicBezTo>
                    <a:cubicBezTo>
                      <a:pt x="11" y="108"/>
                      <a:pt x="11" y="108"/>
                      <a:pt x="11" y="108"/>
                    </a:cubicBezTo>
                    <a:cubicBezTo>
                      <a:pt x="11" y="108"/>
                      <a:pt x="10" y="50"/>
                      <a:pt x="16" y="41"/>
                    </a:cubicBezTo>
                    <a:cubicBezTo>
                      <a:pt x="22" y="31"/>
                      <a:pt x="42" y="25"/>
                      <a:pt x="64" y="13"/>
                    </a:cubicBezTo>
                    <a:cubicBezTo>
                      <a:pt x="67" y="11"/>
                      <a:pt x="71" y="9"/>
                      <a:pt x="74" y="8"/>
                    </a:cubicBezTo>
                    <a:cubicBezTo>
                      <a:pt x="73" y="5"/>
                      <a:pt x="72" y="2"/>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73" name="Freeform 396"/>
            <p:cNvSpPr>
              <a:spLocks/>
            </p:cNvSpPr>
            <p:nvPr/>
          </p:nvSpPr>
          <p:spPr bwMode="auto">
            <a:xfrm>
              <a:off x="5110456" y="2712918"/>
              <a:ext cx="274520" cy="231755"/>
            </a:xfrm>
            <a:custGeom>
              <a:avLst/>
              <a:gdLst>
                <a:gd name="T0" fmla="*/ 82 w 84"/>
                <a:gd name="T1" fmla="*/ 26 h 71"/>
                <a:gd name="T2" fmla="*/ 62 w 84"/>
                <a:gd name="T3" fmla="*/ 3 h 71"/>
                <a:gd name="T4" fmla="*/ 42 w 84"/>
                <a:gd name="T5" fmla="*/ 0 h 71"/>
                <a:gd name="T6" fmla="*/ 23 w 84"/>
                <a:gd name="T7" fmla="*/ 3 h 71"/>
                <a:gd name="T8" fmla="*/ 3 w 84"/>
                <a:gd name="T9" fmla="*/ 26 h 71"/>
                <a:gd name="T10" fmla="*/ 3 w 84"/>
                <a:gd name="T11" fmla="*/ 55 h 71"/>
                <a:gd name="T12" fmla="*/ 12 w 84"/>
                <a:gd name="T13" fmla="*/ 70 h 71"/>
                <a:gd name="T14" fmla="*/ 12 w 84"/>
                <a:gd name="T15" fmla="*/ 42 h 71"/>
                <a:gd name="T16" fmla="*/ 27 w 84"/>
                <a:gd name="T17" fmla="*/ 31 h 71"/>
                <a:gd name="T18" fmla="*/ 38 w 84"/>
                <a:gd name="T19" fmla="*/ 33 h 71"/>
                <a:gd name="T20" fmla="*/ 46 w 84"/>
                <a:gd name="T21" fmla="*/ 33 h 71"/>
                <a:gd name="T22" fmla="*/ 57 w 84"/>
                <a:gd name="T23" fmla="*/ 31 h 71"/>
                <a:gd name="T24" fmla="*/ 73 w 84"/>
                <a:gd name="T25" fmla="*/ 42 h 71"/>
                <a:gd name="T26" fmla="*/ 73 w 84"/>
                <a:gd name="T27" fmla="*/ 70 h 71"/>
                <a:gd name="T28" fmla="*/ 82 w 84"/>
                <a:gd name="T29" fmla="*/ 55 h 71"/>
                <a:gd name="T30" fmla="*/ 82 w 84"/>
                <a:gd name="T31" fmla="*/ 2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71">
                  <a:moveTo>
                    <a:pt x="82" y="26"/>
                  </a:moveTo>
                  <a:cubicBezTo>
                    <a:pt x="80" y="18"/>
                    <a:pt x="73" y="6"/>
                    <a:pt x="62" y="3"/>
                  </a:cubicBezTo>
                  <a:cubicBezTo>
                    <a:pt x="53" y="1"/>
                    <a:pt x="46" y="0"/>
                    <a:pt x="42" y="0"/>
                  </a:cubicBezTo>
                  <a:cubicBezTo>
                    <a:pt x="38" y="0"/>
                    <a:pt x="32" y="1"/>
                    <a:pt x="23" y="3"/>
                  </a:cubicBezTo>
                  <a:cubicBezTo>
                    <a:pt x="12" y="6"/>
                    <a:pt x="5" y="18"/>
                    <a:pt x="3" y="26"/>
                  </a:cubicBezTo>
                  <a:cubicBezTo>
                    <a:pt x="0" y="37"/>
                    <a:pt x="1" y="49"/>
                    <a:pt x="3" y="55"/>
                  </a:cubicBezTo>
                  <a:cubicBezTo>
                    <a:pt x="5" y="62"/>
                    <a:pt x="11" y="71"/>
                    <a:pt x="12" y="70"/>
                  </a:cubicBezTo>
                  <a:cubicBezTo>
                    <a:pt x="13" y="69"/>
                    <a:pt x="6" y="50"/>
                    <a:pt x="12" y="42"/>
                  </a:cubicBezTo>
                  <a:cubicBezTo>
                    <a:pt x="18" y="33"/>
                    <a:pt x="20" y="30"/>
                    <a:pt x="27" y="31"/>
                  </a:cubicBezTo>
                  <a:cubicBezTo>
                    <a:pt x="34" y="32"/>
                    <a:pt x="35" y="32"/>
                    <a:pt x="38" y="33"/>
                  </a:cubicBezTo>
                  <a:cubicBezTo>
                    <a:pt x="39" y="33"/>
                    <a:pt x="45" y="33"/>
                    <a:pt x="46" y="33"/>
                  </a:cubicBezTo>
                  <a:cubicBezTo>
                    <a:pt x="49" y="32"/>
                    <a:pt x="50" y="32"/>
                    <a:pt x="57" y="31"/>
                  </a:cubicBezTo>
                  <a:cubicBezTo>
                    <a:pt x="64" y="30"/>
                    <a:pt x="67" y="33"/>
                    <a:pt x="73" y="42"/>
                  </a:cubicBezTo>
                  <a:cubicBezTo>
                    <a:pt x="79" y="50"/>
                    <a:pt x="71" y="69"/>
                    <a:pt x="73" y="70"/>
                  </a:cubicBezTo>
                  <a:cubicBezTo>
                    <a:pt x="74" y="71"/>
                    <a:pt x="79" y="62"/>
                    <a:pt x="82" y="55"/>
                  </a:cubicBezTo>
                  <a:cubicBezTo>
                    <a:pt x="84" y="49"/>
                    <a:pt x="84" y="37"/>
                    <a:pt x="82" y="26"/>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38" name="Rectangle 37"/>
          <p:cNvSpPr/>
          <p:nvPr/>
        </p:nvSpPr>
        <p:spPr bwMode="auto">
          <a:xfrm>
            <a:off x="3297655" y="3247224"/>
            <a:ext cx="2727235" cy="2071951"/>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45711" rIns="89642" bIns="0" numCol="1" rtlCol="0" anchor="ctr" anchorCtr="0" compatLnSpc="1">
            <a:prstTxWarp prst="textNoShape">
              <a:avLst/>
            </a:prstTxWarp>
          </a:bodyPr>
          <a:lstStyle/>
          <a:p>
            <a:pPr defTabSz="913924" fontAlgn="base">
              <a:spcBef>
                <a:spcPts val="2353"/>
              </a:spcBef>
              <a:spcAft>
                <a:spcPct val="0"/>
              </a:spcAft>
              <a:defRPr/>
            </a:pPr>
            <a:r>
              <a:rPr lang="en-US" sz="1961" b="1" kern="0" dirty="0">
                <a:gradFill>
                  <a:gsLst>
                    <a:gs pos="1250">
                      <a:srgbClr val="FFFFFF"/>
                    </a:gs>
                    <a:gs pos="100000">
                      <a:srgbClr val="FFFFFF"/>
                    </a:gs>
                  </a:gsLst>
                  <a:lin ang="5400000" scaled="0"/>
                </a:gradFill>
              </a:rPr>
              <a:t>           David</a:t>
            </a:r>
          </a:p>
          <a:p>
            <a:pPr defTabSz="913924" fontAlgn="base">
              <a:spcBef>
                <a:spcPct val="0"/>
              </a:spcBef>
              <a:spcAft>
                <a:spcPct val="0"/>
              </a:spcAft>
              <a:defRPr/>
            </a:pPr>
            <a:r>
              <a:rPr lang="en-US" sz="1568" b="1" kern="0" dirty="0">
                <a:gradFill>
                  <a:gsLst>
                    <a:gs pos="1250">
                      <a:srgbClr val="FFFFFF"/>
                    </a:gs>
                    <a:gs pos="100000">
                      <a:srgbClr val="FFFFFF"/>
                    </a:gs>
                  </a:gsLst>
                  <a:lin ang="5400000" scaled="0"/>
                </a:gradFill>
              </a:rPr>
              <a:t>              IT Security</a:t>
            </a:r>
            <a:endParaRPr lang="en-US" sz="2745" kern="0" dirty="0">
              <a:gradFill>
                <a:gsLst>
                  <a:gs pos="1250">
                    <a:srgbClr val="FFFFFF"/>
                  </a:gs>
                  <a:gs pos="100000">
                    <a:srgbClr val="FFFFFF"/>
                  </a:gs>
                </a:gsLst>
                <a:lin ang="5400000" scaled="0"/>
              </a:gradFill>
            </a:endParaRPr>
          </a:p>
          <a:p>
            <a:pPr defTabSz="914225">
              <a:spcBef>
                <a:spcPts val="2353"/>
              </a:spcBef>
              <a:defRPr/>
            </a:pPr>
            <a:r>
              <a:rPr lang="en-US" sz="1568" kern="0" dirty="0">
                <a:gradFill>
                  <a:gsLst>
                    <a:gs pos="1250">
                      <a:srgbClr val="FFFFFF"/>
                    </a:gs>
                    <a:gs pos="100000">
                      <a:srgbClr val="FFFFFF"/>
                    </a:gs>
                  </a:gsLst>
                  <a:lin ang="5400000" scaled="0"/>
                </a:gradFill>
              </a:rPr>
              <a:t>Sets company security policies and ensures compliance</a:t>
            </a:r>
          </a:p>
        </p:txBody>
      </p:sp>
      <p:grpSp>
        <p:nvGrpSpPr>
          <p:cNvPr id="110" name="Group 109"/>
          <p:cNvGrpSpPr>
            <a:grpSpLocks noChangeAspect="1"/>
          </p:cNvGrpSpPr>
          <p:nvPr/>
        </p:nvGrpSpPr>
        <p:grpSpPr>
          <a:xfrm>
            <a:off x="3395791" y="3425785"/>
            <a:ext cx="666804" cy="673561"/>
            <a:chOff x="6448855" y="3669797"/>
            <a:chExt cx="616635" cy="645982"/>
          </a:xfrm>
          <a:solidFill>
            <a:schemeClr val="bg1"/>
          </a:solidFill>
        </p:grpSpPr>
        <p:grpSp>
          <p:nvGrpSpPr>
            <p:cNvPr id="111" name="Group 110"/>
            <p:cNvGrpSpPr/>
            <p:nvPr/>
          </p:nvGrpSpPr>
          <p:grpSpPr>
            <a:xfrm>
              <a:off x="6448855" y="3936418"/>
              <a:ext cx="616635" cy="379361"/>
              <a:chOff x="2937636" y="3455986"/>
              <a:chExt cx="616635" cy="379361"/>
            </a:xfrm>
            <a:grpFill/>
          </p:grpSpPr>
          <p:sp>
            <p:nvSpPr>
              <p:cNvPr id="119" name="Freeform 488"/>
              <p:cNvSpPr>
                <a:spLocks/>
              </p:cNvSpPr>
              <p:nvPr/>
            </p:nvSpPr>
            <p:spPr bwMode="auto">
              <a:xfrm>
                <a:off x="3140422" y="3455986"/>
                <a:ext cx="97945" cy="136571"/>
              </a:xfrm>
              <a:custGeom>
                <a:avLst/>
                <a:gdLst>
                  <a:gd name="T0" fmla="*/ 10 w 30"/>
                  <a:gd name="T1" fmla="*/ 14 h 42"/>
                  <a:gd name="T2" fmla="*/ 7 w 30"/>
                  <a:gd name="T3" fmla="*/ 0 h 42"/>
                  <a:gd name="T4" fmla="*/ 2 w 30"/>
                  <a:gd name="T5" fmla="*/ 2 h 42"/>
                  <a:gd name="T6" fmla="*/ 0 w 30"/>
                  <a:gd name="T7" fmla="*/ 18 h 42"/>
                  <a:gd name="T8" fmla="*/ 12 w 30"/>
                  <a:gd name="T9" fmla="*/ 42 h 42"/>
                  <a:gd name="T10" fmla="*/ 30 w 30"/>
                  <a:gd name="T11" fmla="*/ 30 h 42"/>
                  <a:gd name="T12" fmla="*/ 10 w 30"/>
                  <a:gd name="T13" fmla="*/ 14 h 42"/>
                </a:gdLst>
                <a:ahLst/>
                <a:cxnLst>
                  <a:cxn ang="0">
                    <a:pos x="T0" y="T1"/>
                  </a:cxn>
                  <a:cxn ang="0">
                    <a:pos x="T2" y="T3"/>
                  </a:cxn>
                  <a:cxn ang="0">
                    <a:pos x="T4" y="T5"/>
                  </a:cxn>
                  <a:cxn ang="0">
                    <a:pos x="T6" y="T7"/>
                  </a:cxn>
                  <a:cxn ang="0">
                    <a:pos x="T8" y="T9"/>
                  </a:cxn>
                  <a:cxn ang="0">
                    <a:pos x="T10" y="T11"/>
                  </a:cxn>
                  <a:cxn ang="0">
                    <a:pos x="T12" y="T13"/>
                  </a:cxn>
                </a:cxnLst>
                <a:rect l="0" t="0" r="r" b="b"/>
                <a:pathLst>
                  <a:path w="30" h="42">
                    <a:moveTo>
                      <a:pt x="10" y="14"/>
                    </a:moveTo>
                    <a:cubicBezTo>
                      <a:pt x="7" y="9"/>
                      <a:pt x="7" y="0"/>
                      <a:pt x="7" y="0"/>
                    </a:cubicBezTo>
                    <a:cubicBezTo>
                      <a:pt x="2" y="2"/>
                      <a:pt x="2" y="2"/>
                      <a:pt x="2" y="2"/>
                    </a:cubicBezTo>
                    <a:cubicBezTo>
                      <a:pt x="2" y="2"/>
                      <a:pt x="0" y="11"/>
                      <a:pt x="0" y="18"/>
                    </a:cubicBezTo>
                    <a:cubicBezTo>
                      <a:pt x="0" y="25"/>
                      <a:pt x="12" y="42"/>
                      <a:pt x="12" y="42"/>
                    </a:cubicBezTo>
                    <a:cubicBezTo>
                      <a:pt x="30" y="30"/>
                      <a:pt x="30" y="30"/>
                      <a:pt x="30" y="30"/>
                    </a:cubicBezTo>
                    <a:cubicBezTo>
                      <a:pt x="30" y="30"/>
                      <a:pt x="14" y="19"/>
                      <a:pt x="1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0" name="Freeform 489"/>
              <p:cNvSpPr>
                <a:spLocks/>
              </p:cNvSpPr>
              <p:nvPr/>
            </p:nvSpPr>
            <p:spPr bwMode="auto">
              <a:xfrm>
                <a:off x="3253541" y="3455986"/>
                <a:ext cx="97945" cy="136571"/>
              </a:xfrm>
              <a:custGeom>
                <a:avLst/>
                <a:gdLst>
                  <a:gd name="T0" fmla="*/ 28 w 30"/>
                  <a:gd name="T1" fmla="*/ 2 h 42"/>
                  <a:gd name="T2" fmla="*/ 23 w 30"/>
                  <a:gd name="T3" fmla="*/ 0 h 42"/>
                  <a:gd name="T4" fmla="*/ 19 w 30"/>
                  <a:gd name="T5" fmla="*/ 14 h 42"/>
                  <a:gd name="T6" fmla="*/ 0 w 30"/>
                  <a:gd name="T7" fmla="*/ 30 h 42"/>
                  <a:gd name="T8" fmla="*/ 18 w 30"/>
                  <a:gd name="T9" fmla="*/ 42 h 42"/>
                  <a:gd name="T10" fmla="*/ 30 w 30"/>
                  <a:gd name="T11" fmla="*/ 18 h 42"/>
                  <a:gd name="T12" fmla="*/ 28 w 30"/>
                  <a:gd name="T13" fmla="*/ 2 h 42"/>
                </a:gdLst>
                <a:ahLst/>
                <a:cxnLst>
                  <a:cxn ang="0">
                    <a:pos x="T0" y="T1"/>
                  </a:cxn>
                  <a:cxn ang="0">
                    <a:pos x="T2" y="T3"/>
                  </a:cxn>
                  <a:cxn ang="0">
                    <a:pos x="T4" y="T5"/>
                  </a:cxn>
                  <a:cxn ang="0">
                    <a:pos x="T6" y="T7"/>
                  </a:cxn>
                  <a:cxn ang="0">
                    <a:pos x="T8" y="T9"/>
                  </a:cxn>
                  <a:cxn ang="0">
                    <a:pos x="T10" y="T11"/>
                  </a:cxn>
                  <a:cxn ang="0">
                    <a:pos x="T12" y="T13"/>
                  </a:cxn>
                </a:cxnLst>
                <a:rect l="0" t="0" r="r" b="b"/>
                <a:pathLst>
                  <a:path w="30" h="42">
                    <a:moveTo>
                      <a:pt x="28" y="2"/>
                    </a:moveTo>
                    <a:cubicBezTo>
                      <a:pt x="23" y="0"/>
                      <a:pt x="23" y="0"/>
                      <a:pt x="23" y="0"/>
                    </a:cubicBezTo>
                    <a:cubicBezTo>
                      <a:pt x="23" y="0"/>
                      <a:pt x="23" y="9"/>
                      <a:pt x="19" y="14"/>
                    </a:cubicBezTo>
                    <a:cubicBezTo>
                      <a:pt x="16" y="19"/>
                      <a:pt x="0" y="30"/>
                      <a:pt x="0" y="30"/>
                    </a:cubicBezTo>
                    <a:cubicBezTo>
                      <a:pt x="18" y="42"/>
                      <a:pt x="18" y="42"/>
                      <a:pt x="18" y="42"/>
                    </a:cubicBezTo>
                    <a:cubicBezTo>
                      <a:pt x="18" y="42"/>
                      <a:pt x="30" y="25"/>
                      <a:pt x="30" y="18"/>
                    </a:cubicBezTo>
                    <a:cubicBezTo>
                      <a:pt x="30" y="11"/>
                      <a:pt x="28" y="2"/>
                      <a:pt x="2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1" name="Freeform 490"/>
              <p:cNvSpPr>
                <a:spLocks/>
              </p:cNvSpPr>
              <p:nvPr/>
            </p:nvSpPr>
            <p:spPr bwMode="auto">
              <a:xfrm>
                <a:off x="2937636" y="3501509"/>
                <a:ext cx="616635" cy="333838"/>
              </a:xfrm>
              <a:custGeom>
                <a:avLst/>
                <a:gdLst>
                  <a:gd name="T0" fmla="*/ 182 w 189"/>
                  <a:gd name="T1" fmla="*/ 29 h 102"/>
                  <a:gd name="T2" fmla="*/ 133 w 189"/>
                  <a:gd name="T3" fmla="*/ 0 h 102"/>
                  <a:gd name="T4" fmla="*/ 116 w 189"/>
                  <a:gd name="T5" fmla="*/ 34 h 102"/>
                  <a:gd name="T6" fmla="*/ 94 w 189"/>
                  <a:gd name="T7" fmla="*/ 19 h 102"/>
                  <a:gd name="T8" fmla="*/ 72 w 189"/>
                  <a:gd name="T9" fmla="*/ 34 h 102"/>
                  <a:gd name="T10" fmla="*/ 55 w 189"/>
                  <a:gd name="T11" fmla="*/ 0 h 102"/>
                  <a:gd name="T12" fmla="*/ 7 w 189"/>
                  <a:gd name="T13" fmla="*/ 29 h 102"/>
                  <a:gd name="T14" fmla="*/ 2 w 189"/>
                  <a:gd name="T15" fmla="*/ 102 h 102"/>
                  <a:gd name="T16" fmla="*/ 94 w 189"/>
                  <a:gd name="T17" fmla="*/ 102 h 102"/>
                  <a:gd name="T18" fmla="*/ 95 w 189"/>
                  <a:gd name="T19" fmla="*/ 102 h 102"/>
                  <a:gd name="T20" fmla="*/ 187 w 189"/>
                  <a:gd name="T21" fmla="*/ 102 h 102"/>
                  <a:gd name="T22" fmla="*/ 182 w 189"/>
                  <a:gd name="T2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2">
                    <a:moveTo>
                      <a:pt x="182" y="29"/>
                    </a:moveTo>
                    <a:cubicBezTo>
                      <a:pt x="176" y="19"/>
                      <a:pt x="155" y="13"/>
                      <a:pt x="133" y="0"/>
                    </a:cubicBezTo>
                    <a:cubicBezTo>
                      <a:pt x="132" y="12"/>
                      <a:pt x="116" y="34"/>
                      <a:pt x="116" y="34"/>
                    </a:cubicBezTo>
                    <a:cubicBezTo>
                      <a:pt x="94" y="19"/>
                      <a:pt x="94" y="19"/>
                      <a:pt x="94" y="19"/>
                    </a:cubicBezTo>
                    <a:cubicBezTo>
                      <a:pt x="72" y="34"/>
                      <a:pt x="72" y="34"/>
                      <a:pt x="72" y="34"/>
                    </a:cubicBezTo>
                    <a:cubicBezTo>
                      <a:pt x="72" y="34"/>
                      <a:pt x="57" y="12"/>
                      <a:pt x="55" y="0"/>
                    </a:cubicBezTo>
                    <a:cubicBezTo>
                      <a:pt x="33" y="12"/>
                      <a:pt x="13" y="19"/>
                      <a:pt x="7" y="29"/>
                    </a:cubicBezTo>
                    <a:cubicBezTo>
                      <a:pt x="0" y="39"/>
                      <a:pt x="2" y="102"/>
                      <a:pt x="2" y="102"/>
                    </a:cubicBezTo>
                    <a:cubicBezTo>
                      <a:pt x="94" y="102"/>
                      <a:pt x="94" y="102"/>
                      <a:pt x="94" y="102"/>
                    </a:cubicBezTo>
                    <a:cubicBezTo>
                      <a:pt x="95" y="102"/>
                      <a:pt x="95" y="102"/>
                      <a:pt x="95" y="102"/>
                    </a:cubicBezTo>
                    <a:cubicBezTo>
                      <a:pt x="187" y="102"/>
                      <a:pt x="187" y="102"/>
                      <a:pt x="187" y="102"/>
                    </a:cubicBezTo>
                    <a:cubicBezTo>
                      <a:pt x="187" y="102"/>
                      <a:pt x="189" y="39"/>
                      <a:pt x="18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nvGrpSpPr>
            <p:cNvPr id="112" name="Group 111"/>
            <p:cNvGrpSpPr/>
            <p:nvPr/>
          </p:nvGrpSpPr>
          <p:grpSpPr>
            <a:xfrm>
              <a:off x="6615774" y="3669797"/>
              <a:ext cx="280039" cy="204473"/>
              <a:chOff x="7834210" y="2630250"/>
              <a:chExt cx="280039" cy="204473"/>
            </a:xfrm>
            <a:grpFill/>
          </p:grpSpPr>
          <p:sp>
            <p:nvSpPr>
              <p:cNvPr id="113" name="Freeform 482"/>
              <p:cNvSpPr>
                <a:spLocks/>
              </p:cNvSpPr>
              <p:nvPr/>
            </p:nvSpPr>
            <p:spPr bwMode="auto">
              <a:xfrm>
                <a:off x="7910772" y="2801615"/>
                <a:ext cx="126914" cy="33108"/>
              </a:xfrm>
              <a:custGeom>
                <a:avLst/>
                <a:gdLst>
                  <a:gd name="T0" fmla="*/ 38 w 39"/>
                  <a:gd name="T1" fmla="*/ 5 h 10"/>
                  <a:gd name="T2" fmla="*/ 31 w 39"/>
                  <a:gd name="T3" fmla="*/ 2 h 10"/>
                  <a:gd name="T4" fmla="*/ 20 w 39"/>
                  <a:gd name="T5" fmla="*/ 1 h 10"/>
                  <a:gd name="T6" fmla="*/ 7 w 39"/>
                  <a:gd name="T7" fmla="*/ 2 h 10"/>
                  <a:gd name="T8" fmla="*/ 1 w 39"/>
                  <a:gd name="T9" fmla="*/ 5 h 10"/>
                  <a:gd name="T10" fmla="*/ 7 w 39"/>
                  <a:gd name="T11" fmla="*/ 10 h 10"/>
                  <a:gd name="T12" fmla="*/ 18 w 39"/>
                  <a:gd name="T13" fmla="*/ 7 h 10"/>
                  <a:gd name="T14" fmla="*/ 20 w 39"/>
                  <a:gd name="T15" fmla="*/ 7 h 10"/>
                  <a:gd name="T16" fmla="*/ 21 w 39"/>
                  <a:gd name="T17" fmla="*/ 7 h 10"/>
                  <a:gd name="T18" fmla="*/ 31 w 39"/>
                  <a:gd name="T19" fmla="*/ 10 h 10"/>
                  <a:gd name="T20" fmla="*/ 38 w 39"/>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0">
                    <a:moveTo>
                      <a:pt x="38" y="5"/>
                    </a:moveTo>
                    <a:cubicBezTo>
                      <a:pt x="37" y="5"/>
                      <a:pt x="35" y="4"/>
                      <a:pt x="31" y="2"/>
                    </a:cubicBezTo>
                    <a:cubicBezTo>
                      <a:pt x="28" y="0"/>
                      <a:pt x="20" y="1"/>
                      <a:pt x="20" y="1"/>
                    </a:cubicBezTo>
                    <a:cubicBezTo>
                      <a:pt x="20" y="1"/>
                      <a:pt x="11" y="0"/>
                      <a:pt x="7" y="2"/>
                    </a:cubicBezTo>
                    <a:cubicBezTo>
                      <a:pt x="4" y="4"/>
                      <a:pt x="2" y="5"/>
                      <a:pt x="1" y="5"/>
                    </a:cubicBezTo>
                    <a:cubicBezTo>
                      <a:pt x="0" y="5"/>
                      <a:pt x="4" y="10"/>
                      <a:pt x="7" y="10"/>
                    </a:cubicBezTo>
                    <a:cubicBezTo>
                      <a:pt x="10" y="9"/>
                      <a:pt x="15" y="7"/>
                      <a:pt x="18" y="7"/>
                    </a:cubicBezTo>
                    <a:cubicBezTo>
                      <a:pt x="19" y="7"/>
                      <a:pt x="19" y="7"/>
                      <a:pt x="20" y="7"/>
                    </a:cubicBezTo>
                    <a:cubicBezTo>
                      <a:pt x="20" y="7"/>
                      <a:pt x="20" y="7"/>
                      <a:pt x="21" y="7"/>
                    </a:cubicBezTo>
                    <a:cubicBezTo>
                      <a:pt x="23" y="7"/>
                      <a:pt x="28" y="9"/>
                      <a:pt x="31" y="10"/>
                    </a:cubicBezTo>
                    <a:cubicBezTo>
                      <a:pt x="34" y="10"/>
                      <a:pt x="39" y="5"/>
                      <a:pt x="3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nvGrpSpPr>
              <p:cNvPr id="114" name="Group 113"/>
              <p:cNvGrpSpPr/>
              <p:nvPr/>
            </p:nvGrpSpPr>
            <p:grpSpPr>
              <a:xfrm>
                <a:off x="7834210" y="2630250"/>
                <a:ext cx="280039" cy="148207"/>
                <a:chOff x="4633091" y="1734617"/>
                <a:chExt cx="280039" cy="148207"/>
              </a:xfrm>
              <a:grpFill/>
            </p:grpSpPr>
            <p:grpSp>
              <p:nvGrpSpPr>
                <p:cNvPr id="115" name="Group 114"/>
                <p:cNvGrpSpPr/>
                <p:nvPr/>
              </p:nvGrpSpPr>
              <p:grpSpPr>
                <a:xfrm>
                  <a:off x="4633091" y="1734617"/>
                  <a:ext cx="280039" cy="120017"/>
                  <a:chOff x="4633091" y="1734617"/>
                  <a:chExt cx="280039" cy="120017"/>
                </a:xfrm>
                <a:grpFill/>
              </p:grpSpPr>
              <p:sp>
                <p:nvSpPr>
                  <p:cNvPr id="117" name="Freeform 486"/>
                  <p:cNvSpPr>
                    <a:spLocks/>
                  </p:cNvSpPr>
                  <p:nvPr/>
                </p:nvSpPr>
                <p:spPr bwMode="auto">
                  <a:xfrm>
                    <a:off x="4633091" y="1734617"/>
                    <a:ext cx="68975" cy="120017"/>
                  </a:xfrm>
                  <a:custGeom>
                    <a:avLst/>
                    <a:gdLst>
                      <a:gd name="T0" fmla="*/ 11 w 21"/>
                      <a:gd name="T1" fmla="*/ 1 h 37"/>
                      <a:gd name="T2" fmla="*/ 1 w 21"/>
                      <a:gd name="T3" fmla="*/ 21 h 37"/>
                      <a:gd name="T4" fmla="*/ 12 w 21"/>
                      <a:gd name="T5" fmla="*/ 37 h 37"/>
                      <a:gd name="T6" fmla="*/ 12 w 21"/>
                      <a:gd name="T7" fmla="*/ 18 h 37"/>
                      <a:gd name="T8" fmla="*/ 21 w 21"/>
                      <a:gd name="T9" fmla="*/ 2 h 37"/>
                      <a:gd name="T10" fmla="*/ 11 w 21"/>
                      <a:gd name="T11" fmla="*/ 1 h 37"/>
                    </a:gdLst>
                    <a:ahLst/>
                    <a:cxnLst>
                      <a:cxn ang="0">
                        <a:pos x="T0" y="T1"/>
                      </a:cxn>
                      <a:cxn ang="0">
                        <a:pos x="T2" y="T3"/>
                      </a:cxn>
                      <a:cxn ang="0">
                        <a:pos x="T4" y="T5"/>
                      </a:cxn>
                      <a:cxn ang="0">
                        <a:pos x="T6" y="T7"/>
                      </a:cxn>
                      <a:cxn ang="0">
                        <a:pos x="T8" y="T9"/>
                      </a:cxn>
                      <a:cxn ang="0">
                        <a:pos x="T10" y="T11"/>
                      </a:cxn>
                    </a:cxnLst>
                    <a:rect l="0" t="0" r="r" b="b"/>
                    <a:pathLst>
                      <a:path w="21" h="37">
                        <a:moveTo>
                          <a:pt x="11" y="1"/>
                        </a:moveTo>
                        <a:cubicBezTo>
                          <a:pt x="6" y="3"/>
                          <a:pt x="0" y="15"/>
                          <a:pt x="1" y="21"/>
                        </a:cubicBezTo>
                        <a:cubicBezTo>
                          <a:pt x="1" y="28"/>
                          <a:pt x="12" y="37"/>
                          <a:pt x="12" y="37"/>
                        </a:cubicBezTo>
                        <a:cubicBezTo>
                          <a:pt x="12" y="37"/>
                          <a:pt x="11" y="28"/>
                          <a:pt x="12" y="18"/>
                        </a:cubicBezTo>
                        <a:cubicBezTo>
                          <a:pt x="13" y="8"/>
                          <a:pt x="21" y="2"/>
                          <a:pt x="21" y="2"/>
                        </a:cubicBezTo>
                        <a:cubicBezTo>
                          <a:pt x="21" y="2"/>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18" name="Freeform 487"/>
                  <p:cNvSpPr>
                    <a:spLocks/>
                  </p:cNvSpPr>
                  <p:nvPr/>
                </p:nvSpPr>
                <p:spPr bwMode="auto">
                  <a:xfrm>
                    <a:off x="4845534" y="1734617"/>
                    <a:ext cx="67596" cy="120017"/>
                  </a:xfrm>
                  <a:custGeom>
                    <a:avLst/>
                    <a:gdLst>
                      <a:gd name="T0" fmla="*/ 11 w 21"/>
                      <a:gd name="T1" fmla="*/ 1 h 37"/>
                      <a:gd name="T2" fmla="*/ 0 w 21"/>
                      <a:gd name="T3" fmla="*/ 2 h 37"/>
                      <a:gd name="T4" fmla="*/ 9 w 21"/>
                      <a:gd name="T5" fmla="*/ 18 h 37"/>
                      <a:gd name="T6" fmla="*/ 9 w 21"/>
                      <a:gd name="T7" fmla="*/ 37 h 37"/>
                      <a:gd name="T8" fmla="*/ 21 w 21"/>
                      <a:gd name="T9" fmla="*/ 21 h 37"/>
                      <a:gd name="T10" fmla="*/ 11 w 21"/>
                      <a:gd name="T11" fmla="*/ 1 h 37"/>
                    </a:gdLst>
                    <a:ahLst/>
                    <a:cxnLst>
                      <a:cxn ang="0">
                        <a:pos x="T0" y="T1"/>
                      </a:cxn>
                      <a:cxn ang="0">
                        <a:pos x="T2" y="T3"/>
                      </a:cxn>
                      <a:cxn ang="0">
                        <a:pos x="T4" y="T5"/>
                      </a:cxn>
                      <a:cxn ang="0">
                        <a:pos x="T6" y="T7"/>
                      </a:cxn>
                      <a:cxn ang="0">
                        <a:pos x="T8" y="T9"/>
                      </a:cxn>
                      <a:cxn ang="0">
                        <a:pos x="T10" y="T11"/>
                      </a:cxn>
                    </a:cxnLst>
                    <a:rect l="0" t="0" r="r" b="b"/>
                    <a:pathLst>
                      <a:path w="21" h="37">
                        <a:moveTo>
                          <a:pt x="11" y="1"/>
                        </a:moveTo>
                        <a:cubicBezTo>
                          <a:pt x="5" y="0"/>
                          <a:pt x="0" y="2"/>
                          <a:pt x="0" y="2"/>
                        </a:cubicBezTo>
                        <a:cubicBezTo>
                          <a:pt x="0" y="2"/>
                          <a:pt x="9" y="8"/>
                          <a:pt x="9" y="18"/>
                        </a:cubicBezTo>
                        <a:cubicBezTo>
                          <a:pt x="10" y="28"/>
                          <a:pt x="9" y="37"/>
                          <a:pt x="9" y="37"/>
                        </a:cubicBezTo>
                        <a:cubicBezTo>
                          <a:pt x="9" y="37"/>
                          <a:pt x="21" y="28"/>
                          <a:pt x="21" y="21"/>
                        </a:cubicBezTo>
                        <a:cubicBezTo>
                          <a:pt x="21" y="15"/>
                          <a:pt x="16"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116" name="Freeform 35"/>
                <p:cNvSpPr>
                  <a:spLocks noEditPoints="1"/>
                </p:cNvSpPr>
                <p:nvPr/>
              </p:nvSpPr>
              <p:spPr bwMode="auto">
                <a:xfrm>
                  <a:off x="4665850" y="1806623"/>
                  <a:ext cx="215900" cy="76201"/>
                </a:xfrm>
                <a:custGeom>
                  <a:avLst/>
                  <a:gdLst>
                    <a:gd name="T0" fmla="*/ 67 w 67"/>
                    <a:gd name="T1" fmla="*/ 6 h 21"/>
                    <a:gd name="T2" fmla="*/ 65 w 67"/>
                    <a:gd name="T3" fmla="*/ 2 h 21"/>
                    <a:gd name="T4" fmla="*/ 62 w 67"/>
                    <a:gd name="T5" fmla="*/ 4 h 21"/>
                    <a:gd name="T6" fmla="*/ 62 w 67"/>
                    <a:gd name="T7" fmla="*/ 4 h 21"/>
                    <a:gd name="T8" fmla="*/ 45 w 67"/>
                    <a:gd name="T9" fmla="*/ 1 h 21"/>
                    <a:gd name="T10" fmla="*/ 35 w 67"/>
                    <a:gd name="T11" fmla="*/ 6 h 21"/>
                    <a:gd name="T12" fmla="*/ 32 w 67"/>
                    <a:gd name="T13" fmla="*/ 6 h 21"/>
                    <a:gd name="T14" fmla="*/ 21 w 67"/>
                    <a:gd name="T15" fmla="*/ 1 h 21"/>
                    <a:gd name="T16" fmla="*/ 4 w 67"/>
                    <a:gd name="T17" fmla="*/ 4 h 21"/>
                    <a:gd name="T18" fmla="*/ 4 w 67"/>
                    <a:gd name="T19" fmla="*/ 4 h 21"/>
                    <a:gd name="T20" fmla="*/ 1 w 67"/>
                    <a:gd name="T21" fmla="*/ 2 h 21"/>
                    <a:gd name="T22" fmla="*/ 0 w 67"/>
                    <a:gd name="T23" fmla="*/ 6 h 21"/>
                    <a:gd name="T24" fmla="*/ 5 w 67"/>
                    <a:gd name="T25" fmla="*/ 8 h 21"/>
                    <a:gd name="T26" fmla="*/ 9 w 67"/>
                    <a:gd name="T27" fmla="*/ 18 h 21"/>
                    <a:gd name="T28" fmla="*/ 28 w 67"/>
                    <a:gd name="T29" fmla="*/ 18 h 21"/>
                    <a:gd name="T30" fmla="*/ 31 w 67"/>
                    <a:gd name="T31" fmla="*/ 10 h 21"/>
                    <a:gd name="T32" fmla="*/ 36 w 67"/>
                    <a:gd name="T33" fmla="*/ 10 h 21"/>
                    <a:gd name="T34" fmla="*/ 38 w 67"/>
                    <a:gd name="T35" fmla="*/ 18 h 21"/>
                    <a:gd name="T36" fmla="*/ 58 w 67"/>
                    <a:gd name="T37" fmla="*/ 18 h 21"/>
                    <a:gd name="T38" fmla="*/ 62 w 67"/>
                    <a:gd name="T39" fmla="*/ 8 h 21"/>
                    <a:gd name="T40" fmla="*/ 67 w 67"/>
                    <a:gd name="T41" fmla="*/ 6 h 21"/>
                    <a:gd name="T42" fmla="*/ 25 w 67"/>
                    <a:gd name="T43" fmla="*/ 16 h 21"/>
                    <a:gd name="T44" fmla="*/ 12 w 67"/>
                    <a:gd name="T45" fmla="*/ 16 h 21"/>
                    <a:gd name="T46" fmla="*/ 9 w 67"/>
                    <a:gd name="T47" fmla="*/ 6 h 21"/>
                    <a:gd name="T48" fmla="*/ 20 w 67"/>
                    <a:gd name="T49" fmla="*/ 5 h 21"/>
                    <a:gd name="T50" fmla="*/ 27 w 67"/>
                    <a:gd name="T51" fmla="*/ 8 h 21"/>
                    <a:gd name="T52" fmla="*/ 25 w 67"/>
                    <a:gd name="T53" fmla="*/ 16 h 21"/>
                    <a:gd name="T54" fmla="*/ 55 w 67"/>
                    <a:gd name="T55" fmla="*/ 16 h 21"/>
                    <a:gd name="T56" fmla="*/ 42 w 67"/>
                    <a:gd name="T57" fmla="*/ 16 h 21"/>
                    <a:gd name="T58" fmla="*/ 40 w 67"/>
                    <a:gd name="T59" fmla="*/ 8 h 21"/>
                    <a:gd name="T60" fmla="*/ 46 w 67"/>
                    <a:gd name="T61" fmla="*/ 5 h 21"/>
                    <a:gd name="T62" fmla="*/ 58 w 67"/>
                    <a:gd name="T63" fmla="*/ 6 h 21"/>
                    <a:gd name="T64" fmla="*/ 55 w 67"/>
                    <a:gd name="T65"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21">
                      <a:moveTo>
                        <a:pt x="67" y="6"/>
                      </a:moveTo>
                      <a:cubicBezTo>
                        <a:pt x="65" y="2"/>
                        <a:pt x="65" y="2"/>
                        <a:pt x="65" y="2"/>
                      </a:cubicBezTo>
                      <a:cubicBezTo>
                        <a:pt x="62" y="4"/>
                        <a:pt x="62" y="4"/>
                        <a:pt x="62" y="4"/>
                      </a:cubicBezTo>
                      <a:cubicBezTo>
                        <a:pt x="62" y="4"/>
                        <a:pt x="62" y="4"/>
                        <a:pt x="62" y="4"/>
                      </a:cubicBezTo>
                      <a:cubicBezTo>
                        <a:pt x="62" y="4"/>
                        <a:pt x="51" y="0"/>
                        <a:pt x="45" y="1"/>
                      </a:cubicBezTo>
                      <a:cubicBezTo>
                        <a:pt x="40" y="3"/>
                        <a:pt x="35" y="6"/>
                        <a:pt x="35" y="6"/>
                      </a:cubicBezTo>
                      <a:cubicBezTo>
                        <a:pt x="32" y="6"/>
                        <a:pt x="32" y="6"/>
                        <a:pt x="32" y="6"/>
                      </a:cubicBezTo>
                      <a:cubicBezTo>
                        <a:pt x="31" y="6"/>
                        <a:pt x="27" y="3"/>
                        <a:pt x="21" y="1"/>
                      </a:cubicBezTo>
                      <a:cubicBezTo>
                        <a:pt x="15" y="0"/>
                        <a:pt x="4" y="4"/>
                        <a:pt x="4" y="4"/>
                      </a:cubicBezTo>
                      <a:cubicBezTo>
                        <a:pt x="4" y="4"/>
                        <a:pt x="4" y="4"/>
                        <a:pt x="4" y="4"/>
                      </a:cubicBezTo>
                      <a:cubicBezTo>
                        <a:pt x="1" y="2"/>
                        <a:pt x="1" y="2"/>
                        <a:pt x="1" y="2"/>
                      </a:cubicBezTo>
                      <a:cubicBezTo>
                        <a:pt x="0" y="6"/>
                        <a:pt x="0" y="6"/>
                        <a:pt x="0" y="6"/>
                      </a:cubicBezTo>
                      <a:cubicBezTo>
                        <a:pt x="5" y="8"/>
                        <a:pt x="5" y="8"/>
                        <a:pt x="5" y="8"/>
                      </a:cubicBezTo>
                      <a:cubicBezTo>
                        <a:pt x="5" y="12"/>
                        <a:pt x="6" y="17"/>
                        <a:pt x="9" y="18"/>
                      </a:cubicBezTo>
                      <a:cubicBezTo>
                        <a:pt x="13" y="21"/>
                        <a:pt x="26" y="21"/>
                        <a:pt x="28" y="18"/>
                      </a:cubicBezTo>
                      <a:cubicBezTo>
                        <a:pt x="30" y="17"/>
                        <a:pt x="30" y="13"/>
                        <a:pt x="31" y="10"/>
                      </a:cubicBezTo>
                      <a:cubicBezTo>
                        <a:pt x="36" y="10"/>
                        <a:pt x="36" y="10"/>
                        <a:pt x="36" y="10"/>
                      </a:cubicBezTo>
                      <a:cubicBezTo>
                        <a:pt x="36" y="13"/>
                        <a:pt x="37" y="17"/>
                        <a:pt x="38" y="18"/>
                      </a:cubicBezTo>
                      <a:cubicBezTo>
                        <a:pt x="40" y="21"/>
                        <a:pt x="54" y="21"/>
                        <a:pt x="58" y="18"/>
                      </a:cubicBezTo>
                      <a:cubicBezTo>
                        <a:pt x="60" y="17"/>
                        <a:pt x="61" y="12"/>
                        <a:pt x="62" y="8"/>
                      </a:cubicBezTo>
                      <a:lnTo>
                        <a:pt x="67" y="6"/>
                      </a:lnTo>
                      <a:close/>
                      <a:moveTo>
                        <a:pt x="25" y="16"/>
                      </a:moveTo>
                      <a:cubicBezTo>
                        <a:pt x="24" y="17"/>
                        <a:pt x="15" y="18"/>
                        <a:pt x="12" y="16"/>
                      </a:cubicBezTo>
                      <a:cubicBezTo>
                        <a:pt x="9" y="14"/>
                        <a:pt x="9" y="6"/>
                        <a:pt x="9" y="6"/>
                      </a:cubicBezTo>
                      <a:cubicBezTo>
                        <a:pt x="9" y="6"/>
                        <a:pt x="16" y="4"/>
                        <a:pt x="20" y="5"/>
                      </a:cubicBezTo>
                      <a:cubicBezTo>
                        <a:pt x="24" y="6"/>
                        <a:pt x="27" y="8"/>
                        <a:pt x="27" y="8"/>
                      </a:cubicBezTo>
                      <a:cubicBezTo>
                        <a:pt x="27" y="8"/>
                        <a:pt x="26" y="14"/>
                        <a:pt x="25" y="16"/>
                      </a:cubicBezTo>
                      <a:close/>
                      <a:moveTo>
                        <a:pt x="55" y="16"/>
                      </a:moveTo>
                      <a:cubicBezTo>
                        <a:pt x="52" y="18"/>
                        <a:pt x="43" y="17"/>
                        <a:pt x="42" y="16"/>
                      </a:cubicBezTo>
                      <a:cubicBezTo>
                        <a:pt x="40" y="14"/>
                        <a:pt x="40" y="8"/>
                        <a:pt x="40" y="8"/>
                      </a:cubicBezTo>
                      <a:cubicBezTo>
                        <a:pt x="40" y="8"/>
                        <a:pt x="42" y="6"/>
                        <a:pt x="46" y="5"/>
                      </a:cubicBezTo>
                      <a:cubicBezTo>
                        <a:pt x="50" y="4"/>
                        <a:pt x="58" y="6"/>
                        <a:pt x="58" y="6"/>
                      </a:cubicBezTo>
                      <a:cubicBezTo>
                        <a:pt x="58" y="6"/>
                        <a:pt x="58" y="14"/>
                        <a:pt x="55" y="16"/>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grpSp>
      <p:sp>
        <p:nvSpPr>
          <p:cNvPr id="21" name="Rectangle 20"/>
          <p:cNvSpPr/>
          <p:nvPr/>
        </p:nvSpPr>
        <p:spPr bwMode="auto">
          <a:xfrm>
            <a:off x="8971420" y="3246770"/>
            <a:ext cx="2727235" cy="2071951"/>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45711" rIns="91427" bIns="45711" numCol="1" rtlCol="0" anchor="ctr" anchorCtr="0" compatLnSpc="1">
            <a:prstTxWarp prst="textNoShape">
              <a:avLst/>
            </a:prstTxWarp>
          </a:bodyPr>
          <a:lstStyle/>
          <a:p>
            <a:pPr marL="690430" defTabSz="913924" fontAlgn="base">
              <a:spcBef>
                <a:spcPct val="0"/>
              </a:spcBef>
              <a:spcAft>
                <a:spcPct val="0"/>
              </a:spcAft>
              <a:defRPr/>
            </a:pPr>
            <a:r>
              <a:rPr lang="en-US" sz="1961" b="1" kern="0" dirty="0">
                <a:gradFill>
                  <a:gsLst>
                    <a:gs pos="1250">
                      <a:srgbClr val="FFFFFF"/>
                    </a:gs>
                    <a:gs pos="100000">
                      <a:srgbClr val="FFFFFF"/>
                    </a:gs>
                  </a:gsLst>
                  <a:lin ang="5400000" scaled="0"/>
                </a:gradFill>
              </a:rPr>
              <a:t> Sam</a:t>
            </a:r>
          </a:p>
          <a:p>
            <a:pPr marL="690430" defTabSz="913924" fontAlgn="base">
              <a:spcBef>
                <a:spcPct val="0"/>
              </a:spcBef>
              <a:spcAft>
                <a:spcPct val="0"/>
              </a:spcAft>
              <a:defRPr/>
            </a:pPr>
            <a:r>
              <a:rPr lang="en-US" sz="1568" b="1" kern="0" dirty="0">
                <a:gradFill>
                  <a:gsLst>
                    <a:gs pos="1250">
                      <a:srgbClr val="FFFFFF"/>
                    </a:gs>
                    <a:gs pos="100000">
                      <a:srgbClr val="FFFFFF"/>
                    </a:gs>
                  </a:gsLst>
                  <a:lin ang="5400000" scaled="0"/>
                </a:gradFill>
              </a:rPr>
              <a:t> Security Analyst</a:t>
            </a:r>
            <a:endParaRPr lang="en-US" sz="3137" kern="0" dirty="0">
              <a:gradFill>
                <a:gsLst>
                  <a:gs pos="1250">
                    <a:srgbClr val="FFFFFF"/>
                  </a:gs>
                  <a:gs pos="100000">
                    <a:srgbClr val="FFFFFF"/>
                  </a:gs>
                </a:gsLst>
                <a:lin ang="5400000" scaled="0"/>
              </a:gradFill>
            </a:endParaRPr>
          </a:p>
          <a:p>
            <a:pPr defTabSz="914225">
              <a:spcBef>
                <a:spcPts val="2353"/>
              </a:spcBef>
              <a:defRPr/>
            </a:pPr>
            <a:r>
              <a:rPr lang="en-US" sz="1568" kern="0" dirty="0">
                <a:gradFill>
                  <a:gsLst>
                    <a:gs pos="1250">
                      <a:srgbClr val="FFFFFF"/>
                    </a:gs>
                    <a:gs pos="100000">
                      <a:srgbClr val="FFFFFF"/>
                    </a:gs>
                  </a:gsLst>
                  <a:lin ang="5400000" scaled="0"/>
                </a:gradFill>
              </a:rPr>
              <a:t>Investigates attacks</a:t>
            </a:r>
            <a:br>
              <a:rPr lang="en-US" sz="1568" kern="0" dirty="0">
                <a:gradFill>
                  <a:gsLst>
                    <a:gs pos="1250">
                      <a:srgbClr val="FFFFFF"/>
                    </a:gs>
                    <a:gs pos="100000">
                      <a:srgbClr val="FFFFFF"/>
                    </a:gs>
                  </a:gsLst>
                  <a:lin ang="5400000" scaled="0"/>
                </a:gradFill>
              </a:rPr>
            </a:br>
            <a:r>
              <a:rPr lang="en-US" sz="1568" kern="0" dirty="0">
                <a:gradFill>
                  <a:gsLst>
                    <a:gs pos="1250">
                      <a:srgbClr val="FFFFFF"/>
                    </a:gs>
                    <a:gs pos="100000">
                      <a:srgbClr val="FFFFFF"/>
                    </a:gs>
                  </a:gsLst>
                  <a:lin ang="5400000" scaled="0"/>
                </a:gradFill>
              </a:rPr>
              <a:t> </a:t>
            </a:r>
          </a:p>
        </p:txBody>
      </p:sp>
      <p:grpSp>
        <p:nvGrpSpPr>
          <p:cNvPr id="122" name="Group 121"/>
          <p:cNvGrpSpPr>
            <a:grpSpLocks noChangeAspect="1"/>
          </p:cNvGrpSpPr>
          <p:nvPr/>
        </p:nvGrpSpPr>
        <p:grpSpPr>
          <a:xfrm>
            <a:off x="9083187" y="3338699"/>
            <a:ext cx="666804" cy="760646"/>
            <a:chOff x="3173243" y="5193714"/>
            <a:chExt cx="618014" cy="731133"/>
          </a:xfrm>
          <a:solidFill>
            <a:schemeClr val="bg1"/>
          </a:solidFill>
        </p:grpSpPr>
        <p:sp>
          <p:nvSpPr>
            <p:cNvPr id="124" name="Freeform 354"/>
            <p:cNvSpPr>
              <a:spLocks/>
            </p:cNvSpPr>
            <p:nvPr/>
          </p:nvSpPr>
          <p:spPr bwMode="auto">
            <a:xfrm>
              <a:off x="3173243" y="5581352"/>
              <a:ext cx="618014" cy="343495"/>
            </a:xfrm>
            <a:custGeom>
              <a:avLst/>
              <a:gdLst>
                <a:gd name="T0" fmla="*/ 182 w 189"/>
                <a:gd name="T1" fmla="*/ 32 h 105"/>
                <a:gd name="T2" fmla="*/ 129 w 189"/>
                <a:gd name="T3" fmla="*/ 1 h 105"/>
                <a:gd name="T4" fmla="*/ 128 w 189"/>
                <a:gd name="T5" fmla="*/ 0 h 105"/>
                <a:gd name="T6" fmla="*/ 103 w 189"/>
                <a:gd name="T7" fmla="*/ 14 h 105"/>
                <a:gd name="T8" fmla="*/ 98 w 189"/>
                <a:gd name="T9" fmla="*/ 14 h 105"/>
                <a:gd name="T10" fmla="*/ 94 w 189"/>
                <a:gd name="T11" fmla="*/ 14 h 105"/>
                <a:gd name="T12" fmla="*/ 91 w 189"/>
                <a:gd name="T13" fmla="*/ 14 h 105"/>
                <a:gd name="T14" fmla="*/ 86 w 189"/>
                <a:gd name="T15" fmla="*/ 14 h 105"/>
                <a:gd name="T16" fmla="*/ 61 w 189"/>
                <a:gd name="T17" fmla="*/ 0 h 105"/>
                <a:gd name="T18" fmla="*/ 60 w 189"/>
                <a:gd name="T19" fmla="*/ 1 h 105"/>
                <a:gd name="T20" fmla="*/ 7 w 189"/>
                <a:gd name="T21" fmla="*/ 32 h 105"/>
                <a:gd name="T22" fmla="*/ 2 w 189"/>
                <a:gd name="T23" fmla="*/ 105 h 105"/>
                <a:gd name="T24" fmla="*/ 94 w 189"/>
                <a:gd name="T25" fmla="*/ 105 h 105"/>
                <a:gd name="T26" fmla="*/ 95 w 189"/>
                <a:gd name="T27" fmla="*/ 105 h 105"/>
                <a:gd name="T28" fmla="*/ 187 w 189"/>
                <a:gd name="T29" fmla="*/ 105 h 105"/>
                <a:gd name="T30" fmla="*/ 182 w 189"/>
                <a:gd name="T31" fmla="*/ 3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9" h="105">
                  <a:moveTo>
                    <a:pt x="182" y="32"/>
                  </a:moveTo>
                  <a:cubicBezTo>
                    <a:pt x="176" y="21"/>
                    <a:pt x="153" y="15"/>
                    <a:pt x="129" y="1"/>
                  </a:cubicBezTo>
                  <a:cubicBezTo>
                    <a:pt x="129" y="1"/>
                    <a:pt x="128" y="1"/>
                    <a:pt x="128" y="0"/>
                  </a:cubicBezTo>
                  <a:cubicBezTo>
                    <a:pt x="122" y="6"/>
                    <a:pt x="113" y="14"/>
                    <a:pt x="103" y="14"/>
                  </a:cubicBezTo>
                  <a:cubicBezTo>
                    <a:pt x="101" y="14"/>
                    <a:pt x="99" y="14"/>
                    <a:pt x="98" y="14"/>
                  </a:cubicBezTo>
                  <a:cubicBezTo>
                    <a:pt x="98" y="14"/>
                    <a:pt x="98" y="14"/>
                    <a:pt x="94" y="14"/>
                  </a:cubicBezTo>
                  <a:cubicBezTo>
                    <a:pt x="91" y="14"/>
                    <a:pt x="91" y="14"/>
                    <a:pt x="91" y="14"/>
                  </a:cubicBezTo>
                  <a:cubicBezTo>
                    <a:pt x="90" y="14"/>
                    <a:pt x="88" y="14"/>
                    <a:pt x="86" y="14"/>
                  </a:cubicBezTo>
                  <a:cubicBezTo>
                    <a:pt x="76" y="14"/>
                    <a:pt x="67" y="6"/>
                    <a:pt x="61" y="0"/>
                  </a:cubicBezTo>
                  <a:cubicBezTo>
                    <a:pt x="61" y="1"/>
                    <a:pt x="60" y="1"/>
                    <a:pt x="60" y="1"/>
                  </a:cubicBezTo>
                  <a:cubicBezTo>
                    <a:pt x="36" y="14"/>
                    <a:pt x="13" y="21"/>
                    <a:pt x="7" y="32"/>
                  </a:cubicBezTo>
                  <a:cubicBezTo>
                    <a:pt x="0" y="42"/>
                    <a:pt x="2" y="105"/>
                    <a:pt x="2" y="105"/>
                  </a:cubicBezTo>
                  <a:cubicBezTo>
                    <a:pt x="94" y="105"/>
                    <a:pt x="94" y="105"/>
                    <a:pt x="94" y="105"/>
                  </a:cubicBezTo>
                  <a:cubicBezTo>
                    <a:pt x="95" y="105"/>
                    <a:pt x="95" y="105"/>
                    <a:pt x="95" y="105"/>
                  </a:cubicBezTo>
                  <a:cubicBezTo>
                    <a:pt x="187" y="105"/>
                    <a:pt x="187" y="105"/>
                    <a:pt x="187" y="105"/>
                  </a:cubicBezTo>
                  <a:cubicBezTo>
                    <a:pt x="187" y="105"/>
                    <a:pt x="189" y="42"/>
                    <a:pt x="182" y="32"/>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nvGrpSpPr>
            <p:cNvPr id="125" name="Group 124"/>
            <p:cNvGrpSpPr/>
            <p:nvPr/>
          </p:nvGrpSpPr>
          <p:grpSpPr>
            <a:xfrm>
              <a:off x="3342921" y="5193714"/>
              <a:ext cx="277279" cy="231754"/>
              <a:chOff x="8261213" y="1675681"/>
              <a:chExt cx="277279" cy="231754"/>
            </a:xfrm>
            <a:grpFill/>
          </p:grpSpPr>
          <p:sp>
            <p:nvSpPr>
              <p:cNvPr id="126" name="Freeform 35"/>
              <p:cNvSpPr>
                <a:spLocks noEditPoints="1"/>
              </p:cNvSpPr>
              <p:nvPr/>
            </p:nvSpPr>
            <p:spPr bwMode="auto">
              <a:xfrm>
                <a:off x="8296040" y="1831234"/>
                <a:ext cx="215900" cy="76201"/>
              </a:xfrm>
              <a:custGeom>
                <a:avLst/>
                <a:gdLst>
                  <a:gd name="T0" fmla="*/ 67 w 67"/>
                  <a:gd name="T1" fmla="*/ 6 h 21"/>
                  <a:gd name="T2" fmla="*/ 65 w 67"/>
                  <a:gd name="T3" fmla="*/ 2 h 21"/>
                  <a:gd name="T4" fmla="*/ 62 w 67"/>
                  <a:gd name="T5" fmla="*/ 4 h 21"/>
                  <a:gd name="T6" fmla="*/ 62 w 67"/>
                  <a:gd name="T7" fmla="*/ 4 h 21"/>
                  <a:gd name="T8" fmla="*/ 45 w 67"/>
                  <a:gd name="T9" fmla="*/ 1 h 21"/>
                  <a:gd name="T10" fmla="*/ 35 w 67"/>
                  <a:gd name="T11" fmla="*/ 6 h 21"/>
                  <a:gd name="T12" fmla="*/ 32 w 67"/>
                  <a:gd name="T13" fmla="*/ 6 h 21"/>
                  <a:gd name="T14" fmla="*/ 21 w 67"/>
                  <a:gd name="T15" fmla="*/ 1 h 21"/>
                  <a:gd name="T16" fmla="*/ 4 w 67"/>
                  <a:gd name="T17" fmla="*/ 4 h 21"/>
                  <a:gd name="T18" fmla="*/ 4 w 67"/>
                  <a:gd name="T19" fmla="*/ 4 h 21"/>
                  <a:gd name="T20" fmla="*/ 1 w 67"/>
                  <a:gd name="T21" fmla="*/ 2 h 21"/>
                  <a:gd name="T22" fmla="*/ 0 w 67"/>
                  <a:gd name="T23" fmla="*/ 6 h 21"/>
                  <a:gd name="T24" fmla="*/ 5 w 67"/>
                  <a:gd name="T25" fmla="*/ 8 h 21"/>
                  <a:gd name="T26" fmla="*/ 9 w 67"/>
                  <a:gd name="T27" fmla="*/ 18 h 21"/>
                  <a:gd name="T28" fmla="*/ 28 w 67"/>
                  <a:gd name="T29" fmla="*/ 18 h 21"/>
                  <a:gd name="T30" fmla="*/ 31 w 67"/>
                  <a:gd name="T31" fmla="*/ 10 h 21"/>
                  <a:gd name="T32" fmla="*/ 36 w 67"/>
                  <a:gd name="T33" fmla="*/ 10 h 21"/>
                  <a:gd name="T34" fmla="*/ 38 w 67"/>
                  <a:gd name="T35" fmla="*/ 18 h 21"/>
                  <a:gd name="T36" fmla="*/ 58 w 67"/>
                  <a:gd name="T37" fmla="*/ 18 h 21"/>
                  <a:gd name="T38" fmla="*/ 62 w 67"/>
                  <a:gd name="T39" fmla="*/ 8 h 21"/>
                  <a:gd name="T40" fmla="*/ 67 w 67"/>
                  <a:gd name="T41" fmla="*/ 6 h 21"/>
                  <a:gd name="T42" fmla="*/ 25 w 67"/>
                  <a:gd name="T43" fmla="*/ 16 h 21"/>
                  <a:gd name="T44" fmla="*/ 12 w 67"/>
                  <a:gd name="T45" fmla="*/ 16 h 21"/>
                  <a:gd name="T46" fmla="*/ 9 w 67"/>
                  <a:gd name="T47" fmla="*/ 6 h 21"/>
                  <a:gd name="T48" fmla="*/ 20 w 67"/>
                  <a:gd name="T49" fmla="*/ 5 h 21"/>
                  <a:gd name="T50" fmla="*/ 27 w 67"/>
                  <a:gd name="T51" fmla="*/ 8 h 21"/>
                  <a:gd name="T52" fmla="*/ 25 w 67"/>
                  <a:gd name="T53" fmla="*/ 16 h 21"/>
                  <a:gd name="T54" fmla="*/ 55 w 67"/>
                  <a:gd name="T55" fmla="*/ 16 h 21"/>
                  <a:gd name="T56" fmla="*/ 42 w 67"/>
                  <a:gd name="T57" fmla="*/ 16 h 21"/>
                  <a:gd name="T58" fmla="*/ 40 w 67"/>
                  <a:gd name="T59" fmla="*/ 8 h 21"/>
                  <a:gd name="T60" fmla="*/ 46 w 67"/>
                  <a:gd name="T61" fmla="*/ 5 h 21"/>
                  <a:gd name="T62" fmla="*/ 58 w 67"/>
                  <a:gd name="T63" fmla="*/ 6 h 21"/>
                  <a:gd name="T64" fmla="*/ 55 w 67"/>
                  <a:gd name="T65"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21">
                    <a:moveTo>
                      <a:pt x="67" y="6"/>
                    </a:moveTo>
                    <a:cubicBezTo>
                      <a:pt x="65" y="2"/>
                      <a:pt x="65" y="2"/>
                      <a:pt x="65" y="2"/>
                    </a:cubicBezTo>
                    <a:cubicBezTo>
                      <a:pt x="62" y="4"/>
                      <a:pt x="62" y="4"/>
                      <a:pt x="62" y="4"/>
                    </a:cubicBezTo>
                    <a:cubicBezTo>
                      <a:pt x="62" y="4"/>
                      <a:pt x="62" y="4"/>
                      <a:pt x="62" y="4"/>
                    </a:cubicBezTo>
                    <a:cubicBezTo>
                      <a:pt x="62" y="4"/>
                      <a:pt x="51" y="0"/>
                      <a:pt x="45" y="1"/>
                    </a:cubicBezTo>
                    <a:cubicBezTo>
                      <a:pt x="40" y="3"/>
                      <a:pt x="35" y="6"/>
                      <a:pt x="35" y="6"/>
                    </a:cubicBezTo>
                    <a:cubicBezTo>
                      <a:pt x="32" y="6"/>
                      <a:pt x="32" y="6"/>
                      <a:pt x="32" y="6"/>
                    </a:cubicBezTo>
                    <a:cubicBezTo>
                      <a:pt x="31" y="6"/>
                      <a:pt x="27" y="3"/>
                      <a:pt x="21" y="1"/>
                    </a:cubicBezTo>
                    <a:cubicBezTo>
                      <a:pt x="15" y="0"/>
                      <a:pt x="4" y="4"/>
                      <a:pt x="4" y="4"/>
                    </a:cubicBezTo>
                    <a:cubicBezTo>
                      <a:pt x="4" y="4"/>
                      <a:pt x="4" y="4"/>
                      <a:pt x="4" y="4"/>
                    </a:cubicBezTo>
                    <a:cubicBezTo>
                      <a:pt x="1" y="2"/>
                      <a:pt x="1" y="2"/>
                      <a:pt x="1" y="2"/>
                    </a:cubicBezTo>
                    <a:cubicBezTo>
                      <a:pt x="0" y="6"/>
                      <a:pt x="0" y="6"/>
                      <a:pt x="0" y="6"/>
                    </a:cubicBezTo>
                    <a:cubicBezTo>
                      <a:pt x="5" y="8"/>
                      <a:pt x="5" y="8"/>
                      <a:pt x="5" y="8"/>
                    </a:cubicBezTo>
                    <a:cubicBezTo>
                      <a:pt x="5" y="12"/>
                      <a:pt x="6" y="17"/>
                      <a:pt x="9" y="18"/>
                    </a:cubicBezTo>
                    <a:cubicBezTo>
                      <a:pt x="13" y="21"/>
                      <a:pt x="26" y="21"/>
                      <a:pt x="28" y="18"/>
                    </a:cubicBezTo>
                    <a:cubicBezTo>
                      <a:pt x="30" y="17"/>
                      <a:pt x="30" y="13"/>
                      <a:pt x="31" y="10"/>
                    </a:cubicBezTo>
                    <a:cubicBezTo>
                      <a:pt x="36" y="10"/>
                      <a:pt x="36" y="10"/>
                      <a:pt x="36" y="10"/>
                    </a:cubicBezTo>
                    <a:cubicBezTo>
                      <a:pt x="36" y="13"/>
                      <a:pt x="37" y="17"/>
                      <a:pt x="38" y="18"/>
                    </a:cubicBezTo>
                    <a:cubicBezTo>
                      <a:pt x="40" y="21"/>
                      <a:pt x="54" y="21"/>
                      <a:pt x="58" y="18"/>
                    </a:cubicBezTo>
                    <a:cubicBezTo>
                      <a:pt x="60" y="17"/>
                      <a:pt x="61" y="12"/>
                      <a:pt x="62" y="8"/>
                    </a:cubicBezTo>
                    <a:lnTo>
                      <a:pt x="67" y="6"/>
                    </a:lnTo>
                    <a:close/>
                    <a:moveTo>
                      <a:pt x="25" y="16"/>
                    </a:moveTo>
                    <a:cubicBezTo>
                      <a:pt x="24" y="17"/>
                      <a:pt x="15" y="18"/>
                      <a:pt x="12" y="16"/>
                    </a:cubicBezTo>
                    <a:cubicBezTo>
                      <a:pt x="9" y="14"/>
                      <a:pt x="9" y="6"/>
                      <a:pt x="9" y="6"/>
                    </a:cubicBezTo>
                    <a:cubicBezTo>
                      <a:pt x="9" y="6"/>
                      <a:pt x="16" y="4"/>
                      <a:pt x="20" y="5"/>
                    </a:cubicBezTo>
                    <a:cubicBezTo>
                      <a:pt x="24" y="6"/>
                      <a:pt x="27" y="8"/>
                      <a:pt x="27" y="8"/>
                    </a:cubicBezTo>
                    <a:cubicBezTo>
                      <a:pt x="27" y="8"/>
                      <a:pt x="26" y="14"/>
                      <a:pt x="25" y="16"/>
                    </a:cubicBezTo>
                    <a:close/>
                    <a:moveTo>
                      <a:pt x="55" y="16"/>
                    </a:moveTo>
                    <a:cubicBezTo>
                      <a:pt x="52" y="18"/>
                      <a:pt x="43" y="17"/>
                      <a:pt x="42" y="16"/>
                    </a:cubicBezTo>
                    <a:cubicBezTo>
                      <a:pt x="40" y="14"/>
                      <a:pt x="40" y="8"/>
                      <a:pt x="40" y="8"/>
                    </a:cubicBezTo>
                    <a:cubicBezTo>
                      <a:pt x="40" y="8"/>
                      <a:pt x="42" y="6"/>
                      <a:pt x="46" y="5"/>
                    </a:cubicBezTo>
                    <a:cubicBezTo>
                      <a:pt x="50" y="4"/>
                      <a:pt x="58" y="6"/>
                      <a:pt x="58" y="6"/>
                    </a:cubicBezTo>
                    <a:cubicBezTo>
                      <a:pt x="58" y="6"/>
                      <a:pt x="58" y="14"/>
                      <a:pt x="55" y="16"/>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7" name="Freeform 357"/>
              <p:cNvSpPr>
                <a:spLocks/>
              </p:cNvSpPr>
              <p:nvPr/>
            </p:nvSpPr>
            <p:spPr bwMode="auto">
              <a:xfrm>
                <a:off x="8261213" y="1675681"/>
                <a:ext cx="277279" cy="219340"/>
              </a:xfrm>
              <a:custGeom>
                <a:avLst/>
                <a:gdLst>
                  <a:gd name="T0" fmla="*/ 83 w 85"/>
                  <a:gd name="T1" fmla="*/ 31 h 67"/>
                  <a:gd name="T2" fmla="*/ 74 w 85"/>
                  <a:gd name="T3" fmla="*/ 12 h 67"/>
                  <a:gd name="T4" fmla="*/ 69 w 85"/>
                  <a:gd name="T5" fmla="*/ 10 h 67"/>
                  <a:gd name="T6" fmla="*/ 65 w 85"/>
                  <a:gd name="T7" fmla="*/ 5 h 67"/>
                  <a:gd name="T8" fmla="*/ 60 w 85"/>
                  <a:gd name="T9" fmla="*/ 4 h 67"/>
                  <a:gd name="T10" fmla="*/ 56 w 85"/>
                  <a:gd name="T11" fmla="*/ 2 h 67"/>
                  <a:gd name="T12" fmla="*/ 51 w 85"/>
                  <a:gd name="T13" fmla="*/ 2 h 67"/>
                  <a:gd name="T14" fmla="*/ 48 w 85"/>
                  <a:gd name="T15" fmla="*/ 1 h 67"/>
                  <a:gd name="T16" fmla="*/ 45 w 85"/>
                  <a:gd name="T17" fmla="*/ 2 h 67"/>
                  <a:gd name="T18" fmla="*/ 43 w 85"/>
                  <a:gd name="T19" fmla="*/ 1 h 67"/>
                  <a:gd name="T20" fmla="*/ 42 w 85"/>
                  <a:gd name="T21" fmla="*/ 0 h 67"/>
                  <a:gd name="T22" fmla="*/ 38 w 85"/>
                  <a:gd name="T23" fmla="*/ 1 h 67"/>
                  <a:gd name="T24" fmla="*/ 36 w 85"/>
                  <a:gd name="T25" fmla="*/ 3 h 67"/>
                  <a:gd name="T26" fmla="*/ 32 w 85"/>
                  <a:gd name="T27" fmla="*/ 2 h 67"/>
                  <a:gd name="T28" fmla="*/ 26 w 85"/>
                  <a:gd name="T29" fmla="*/ 4 h 67"/>
                  <a:gd name="T30" fmla="*/ 20 w 85"/>
                  <a:gd name="T31" fmla="*/ 5 h 67"/>
                  <a:gd name="T32" fmla="*/ 16 w 85"/>
                  <a:gd name="T33" fmla="*/ 10 h 67"/>
                  <a:gd name="T34" fmla="*/ 11 w 85"/>
                  <a:gd name="T35" fmla="*/ 12 h 67"/>
                  <a:gd name="T36" fmla="*/ 3 w 85"/>
                  <a:gd name="T37" fmla="*/ 31 h 67"/>
                  <a:gd name="T38" fmla="*/ 4 w 85"/>
                  <a:gd name="T39" fmla="*/ 60 h 67"/>
                  <a:gd name="T40" fmla="*/ 14 w 85"/>
                  <a:gd name="T41" fmla="*/ 62 h 67"/>
                  <a:gd name="T42" fmla="*/ 12 w 85"/>
                  <a:gd name="T43" fmla="*/ 47 h 67"/>
                  <a:gd name="T44" fmla="*/ 20 w 85"/>
                  <a:gd name="T45" fmla="*/ 28 h 67"/>
                  <a:gd name="T46" fmla="*/ 33 w 85"/>
                  <a:gd name="T47" fmla="*/ 31 h 67"/>
                  <a:gd name="T48" fmla="*/ 43 w 85"/>
                  <a:gd name="T49" fmla="*/ 32 h 67"/>
                  <a:gd name="T50" fmla="*/ 53 w 85"/>
                  <a:gd name="T51" fmla="*/ 31 h 67"/>
                  <a:gd name="T52" fmla="*/ 65 w 85"/>
                  <a:gd name="T53" fmla="*/ 28 h 67"/>
                  <a:gd name="T54" fmla="*/ 74 w 85"/>
                  <a:gd name="T55" fmla="*/ 47 h 67"/>
                  <a:gd name="T56" fmla="*/ 72 w 85"/>
                  <a:gd name="T57" fmla="*/ 62 h 67"/>
                  <a:gd name="T58" fmla="*/ 81 w 85"/>
                  <a:gd name="T59" fmla="*/ 60 h 67"/>
                  <a:gd name="T60" fmla="*/ 83 w 85"/>
                  <a:gd name="T61" fmla="*/ 3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67">
                    <a:moveTo>
                      <a:pt x="83" y="31"/>
                    </a:moveTo>
                    <a:cubicBezTo>
                      <a:pt x="82" y="25"/>
                      <a:pt x="80" y="17"/>
                      <a:pt x="74" y="12"/>
                    </a:cubicBezTo>
                    <a:cubicBezTo>
                      <a:pt x="73" y="11"/>
                      <a:pt x="71" y="11"/>
                      <a:pt x="69" y="10"/>
                    </a:cubicBezTo>
                    <a:cubicBezTo>
                      <a:pt x="68" y="9"/>
                      <a:pt x="67" y="5"/>
                      <a:pt x="65" y="5"/>
                    </a:cubicBezTo>
                    <a:cubicBezTo>
                      <a:pt x="62" y="3"/>
                      <a:pt x="61" y="4"/>
                      <a:pt x="60" y="4"/>
                    </a:cubicBezTo>
                    <a:cubicBezTo>
                      <a:pt x="57" y="3"/>
                      <a:pt x="58" y="2"/>
                      <a:pt x="56" y="2"/>
                    </a:cubicBezTo>
                    <a:cubicBezTo>
                      <a:pt x="54" y="2"/>
                      <a:pt x="54" y="2"/>
                      <a:pt x="51" y="2"/>
                    </a:cubicBezTo>
                    <a:cubicBezTo>
                      <a:pt x="48" y="1"/>
                      <a:pt x="48" y="1"/>
                      <a:pt x="48" y="1"/>
                    </a:cubicBezTo>
                    <a:cubicBezTo>
                      <a:pt x="46" y="1"/>
                      <a:pt x="45" y="2"/>
                      <a:pt x="45" y="2"/>
                    </a:cubicBezTo>
                    <a:cubicBezTo>
                      <a:pt x="45" y="2"/>
                      <a:pt x="43" y="1"/>
                      <a:pt x="43" y="1"/>
                    </a:cubicBezTo>
                    <a:cubicBezTo>
                      <a:pt x="43" y="1"/>
                      <a:pt x="42" y="0"/>
                      <a:pt x="42" y="0"/>
                    </a:cubicBezTo>
                    <a:cubicBezTo>
                      <a:pt x="42" y="0"/>
                      <a:pt x="40" y="1"/>
                      <a:pt x="38" y="1"/>
                    </a:cubicBezTo>
                    <a:cubicBezTo>
                      <a:pt x="36" y="3"/>
                      <a:pt x="36" y="3"/>
                      <a:pt x="36" y="3"/>
                    </a:cubicBezTo>
                    <a:cubicBezTo>
                      <a:pt x="33" y="3"/>
                      <a:pt x="34" y="2"/>
                      <a:pt x="32" y="2"/>
                    </a:cubicBezTo>
                    <a:cubicBezTo>
                      <a:pt x="29" y="3"/>
                      <a:pt x="29" y="3"/>
                      <a:pt x="26" y="4"/>
                    </a:cubicBezTo>
                    <a:cubicBezTo>
                      <a:pt x="25" y="4"/>
                      <a:pt x="23" y="3"/>
                      <a:pt x="20" y="5"/>
                    </a:cubicBezTo>
                    <a:cubicBezTo>
                      <a:pt x="19" y="5"/>
                      <a:pt x="18" y="9"/>
                      <a:pt x="16" y="10"/>
                    </a:cubicBezTo>
                    <a:cubicBezTo>
                      <a:pt x="14" y="11"/>
                      <a:pt x="13" y="11"/>
                      <a:pt x="11" y="12"/>
                    </a:cubicBezTo>
                    <a:cubicBezTo>
                      <a:pt x="6" y="17"/>
                      <a:pt x="4" y="25"/>
                      <a:pt x="3" y="31"/>
                    </a:cubicBezTo>
                    <a:cubicBezTo>
                      <a:pt x="0" y="42"/>
                      <a:pt x="2" y="54"/>
                      <a:pt x="4" y="60"/>
                    </a:cubicBezTo>
                    <a:cubicBezTo>
                      <a:pt x="6" y="67"/>
                      <a:pt x="12" y="63"/>
                      <a:pt x="14" y="62"/>
                    </a:cubicBezTo>
                    <a:cubicBezTo>
                      <a:pt x="15" y="61"/>
                      <a:pt x="10" y="55"/>
                      <a:pt x="12" y="47"/>
                    </a:cubicBezTo>
                    <a:cubicBezTo>
                      <a:pt x="14" y="36"/>
                      <a:pt x="14" y="32"/>
                      <a:pt x="20" y="28"/>
                    </a:cubicBezTo>
                    <a:cubicBezTo>
                      <a:pt x="21" y="28"/>
                      <a:pt x="30" y="31"/>
                      <a:pt x="33" y="31"/>
                    </a:cubicBezTo>
                    <a:cubicBezTo>
                      <a:pt x="36" y="32"/>
                      <a:pt x="39" y="32"/>
                      <a:pt x="43" y="32"/>
                    </a:cubicBezTo>
                    <a:cubicBezTo>
                      <a:pt x="47" y="32"/>
                      <a:pt x="50" y="32"/>
                      <a:pt x="53" y="31"/>
                    </a:cubicBezTo>
                    <a:cubicBezTo>
                      <a:pt x="56" y="31"/>
                      <a:pt x="65" y="28"/>
                      <a:pt x="65" y="28"/>
                    </a:cubicBezTo>
                    <a:cubicBezTo>
                      <a:pt x="71" y="32"/>
                      <a:pt x="72" y="36"/>
                      <a:pt x="74" y="47"/>
                    </a:cubicBezTo>
                    <a:cubicBezTo>
                      <a:pt x="75" y="55"/>
                      <a:pt x="71" y="61"/>
                      <a:pt x="72" y="62"/>
                    </a:cubicBezTo>
                    <a:cubicBezTo>
                      <a:pt x="73" y="63"/>
                      <a:pt x="79" y="67"/>
                      <a:pt x="81" y="60"/>
                    </a:cubicBezTo>
                    <a:cubicBezTo>
                      <a:pt x="84" y="54"/>
                      <a:pt x="85" y="42"/>
                      <a:pt x="83" y="31"/>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sp>
        <p:nvSpPr>
          <p:cNvPr id="8" name="Rectangle 7"/>
          <p:cNvSpPr/>
          <p:nvPr/>
        </p:nvSpPr>
        <p:spPr bwMode="auto">
          <a:xfrm>
            <a:off x="3297655" y="1940170"/>
            <a:ext cx="8401000" cy="1186837"/>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9642" tIns="45711" rIns="91423" bIns="179285" numCol="1" rtlCol="0" anchor="ctr" anchorCtr="0" compatLnSpc="1">
            <a:prstTxWarp prst="textNoShape">
              <a:avLst/>
            </a:prstTxWarp>
          </a:bodyPr>
          <a:lstStyle/>
          <a:p>
            <a:pPr defTabSz="913924" fontAlgn="base">
              <a:spcBef>
                <a:spcPct val="0"/>
              </a:spcBef>
              <a:spcAft>
                <a:spcPct val="0"/>
              </a:spcAft>
              <a:defRPr/>
            </a:pPr>
            <a:r>
              <a:rPr lang="en-US" sz="1961" b="1" kern="0" dirty="0">
                <a:gradFill>
                  <a:gsLst>
                    <a:gs pos="1250">
                      <a:srgbClr val="FFFFFF"/>
                    </a:gs>
                    <a:gs pos="100000">
                      <a:srgbClr val="FFFFFF"/>
                    </a:gs>
                  </a:gsLst>
                  <a:lin ang="5400000" scaled="0"/>
                </a:gradFill>
              </a:rPr>
              <a:t>            Ellen  </a:t>
            </a:r>
          </a:p>
          <a:p>
            <a:pPr defTabSz="913924" fontAlgn="base">
              <a:spcBef>
                <a:spcPct val="0"/>
              </a:spcBef>
              <a:spcAft>
                <a:spcPct val="0"/>
              </a:spcAft>
              <a:defRPr/>
            </a:pPr>
            <a:r>
              <a:rPr lang="en-US" sz="1568" b="1" kern="0" dirty="0">
                <a:gradFill>
                  <a:gsLst>
                    <a:gs pos="1250">
                      <a:srgbClr val="FFFFFF"/>
                    </a:gs>
                    <a:gs pos="100000">
                      <a:srgbClr val="FFFFFF"/>
                    </a:gs>
                  </a:gsLst>
                  <a:lin ang="5400000" scaled="0"/>
                </a:gradFill>
              </a:rPr>
              <a:t>               CISO/CIO</a:t>
            </a:r>
          </a:p>
        </p:txBody>
      </p:sp>
      <p:sp>
        <p:nvSpPr>
          <p:cNvPr id="4" name="TextBox 3"/>
          <p:cNvSpPr txBox="1"/>
          <p:nvPr/>
        </p:nvSpPr>
        <p:spPr>
          <a:xfrm>
            <a:off x="5430390" y="2336853"/>
            <a:ext cx="5670649" cy="241381"/>
          </a:xfrm>
          <a:prstGeom prst="rect">
            <a:avLst/>
          </a:prstGeom>
          <a:noFill/>
        </p:spPr>
        <p:txBody>
          <a:bodyPr wrap="square" lIns="0" tIns="0" rIns="0" bIns="0" rtlCol="0">
            <a:spAutoFit/>
          </a:bodyPr>
          <a:lstStyle/>
          <a:p>
            <a:pPr defTabSz="914225">
              <a:spcBef>
                <a:spcPts val="1765"/>
              </a:spcBef>
              <a:defRPr/>
            </a:pPr>
            <a:r>
              <a:rPr lang="en-US" sz="1568" kern="0" dirty="0">
                <a:gradFill>
                  <a:gsLst>
                    <a:gs pos="1250">
                      <a:srgbClr val="FFFFFF"/>
                    </a:gs>
                    <a:gs pos="100000">
                      <a:srgbClr val="FFFFFF"/>
                    </a:gs>
                  </a:gsLst>
                  <a:lin ang="5400000" scaled="0"/>
                </a:gradFill>
              </a:rPr>
              <a:t>Responsible for all aspects of security for the company</a:t>
            </a:r>
          </a:p>
        </p:txBody>
      </p:sp>
      <p:grpSp>
        <p:nvGrpSpPr>
          <p:cNvPr id="9" name="Group 8"/>
          <p:cNvGrpSpPr/>
          <p:nvPr/>
        </p:nvGrpSpPr>
        <p:grpSpPr>
          <a:xfrm>
            <a:off x="3395791" y="2193479"/>
            <a:ext cx="666804" cy="751324"/>
            <a:chOff x="3439877" y="749611"/>
            <a:chExt cx="685800" cy="801384"/>
          </a:xfrm>
          <a:solidFill>
            <a:schemeClr val="bg1"/>
          </a:solidFill>
        </p:grpSpPr>
        <p:sp>
          <p:nvSpPr>
            <p:cNvPr id="78" name="Freeform 177"/>
            <p:cNvSpPr>
              <a:spLocks/>
            </p:cNvSpPr>
            <p:nvPr/>
          </p:nvSpPr>
          <p:spPr bwMode="auto">
            <a:xfrm>
              <a:off x="3583972" y="749611"/>
              <a:ext cx="397610" cy="426892"/>
            </a:xfrm>
            <a:custGeom>
              <a:avLst/>
              <a:gdLst>
                <a:gd name="T0" fmla="*/ 95 w 109"/>
                <a:gd name="T1" fmla="*/ 91 h 117"/>
                <a:gd name="T2" fmla="*/ 104 w 109"/>
                <a:gd name="T3" fmla="*/ 52 h 117"/>
                <a:gd name="T4" fmla="*/ 100 w 109"/>
                <a:gd name="T5" fmla="*/ 24 h 117"/>
                <a:gd name="T6" fmla="*/ 72 w 109"/>
                <a:gd name="T7" fmla="*/ 2 h 117"/>
                <a:gd name="T8" fmla="*/ 57 w 109"/>
                <a:gd name="T9" fmla="*/ 1 h 117"/>
                <a:gd name="T10" fmla="*/ 54 w 109"/>
                <a:gd name="T11" fmla="*/ 1 h 117"/>
                <a:gd name="T12" fmla="*/ 51 w 109"/>
                <a:gd name="T13" fmla="*/ 1 h 117"/>
                <a:gd name="T14" fmla="*/ 37 w 109"/>
                <a:gd name="T15" fmla="*/ 2 h 117"/>
                <a:gd name="T16" fmla="*/ 9 w 109"/>
                <a:gd name="T17" fmla="*/ 24 h 117"/>
                <a:gd name="T18" fmla="*/ 4 w 109"/>
                <a:gd name="T19" fmla="*/ 52 h 117"/>
                <a:gd name="T20" fmla="*/ 14 w 109"/>
                <a:gd name="T21" fmla="*/ 91 h 117"/>
                <a:gd name="T22" fmla="*/ 0 w 109"/>
                <a:gd name="T23" fmla="*/ 111 h 117"/>
                <a:gd name="T24" fmla="*/ 27 w 109"/>
                <a:gd name="T25" fmla="*/ 116 h 117"/>
                <a:gd name="T26" fmla="*/ 38 w 109"/>
                <a:gd name="T27" fmla="*/ 113 h 117"/>
                <a:gd name="T28" fmla="*/ 37 w 109"/>
                <a:gd name="T29" fmla="*/ 101 h 117"/>
                <a:gd name="T30" fmla="*/ 25 w 109"/>
                <a:gd name="T31" fmla="*/ 82 h 117"/>
                <a:gd name="T32" fmla="*/ 26 w 109"/>
                <a:gd name="T33" fmla="*/ 41 h 117"/>
                <a:gd name="T34" fmla="*/ 49 w 109"/>
                <a:gd name="T35" fmla="*/ 24 h 117"/>
                <a:gd name="T36" fmla="*/ 59 w 109"/>
                <a:gd name="T37" fmla="*/ 34 h 117"/>
                <a:gd name="T38" fmla="*/ 83 w 109"/>
                <a:gd name="T39" fmla="*/ 41 h 117"/>
                <a:gd name="T40" fmla="*/ 83 w 109"/>
                <a:gd name="T41" fmla="*/ 82 h 117"/>
                <a:gd name="T42" fmla="*/ 71 w 109"/>
                <a:gd name="T43" fmla="*/ 101 h 117"/>
                <a:gd name="T44" fmla="*/ 70 w 109"/>
                <a:gd name="T45" fmla="*/ 113 h 117"/>
                <a:gd name="T46" fmla="*/ 81 w 109"/>
                <a:gd name="T47" fmla="*/ 116 h 117"/>
                <a:gd name="T48" fmla="*/ 109 w 109"/>
                <a:gd name="T49" fmla="*/ 111 h 117"/>
                <a:gd name="T50" fmla="*/ 95 w 109"/>
                <a:gd name="T51"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17">
                  <a:moveTo>
                    <a:pt x="95" y="91"/>
                  </a:moveTo>
                  <a:cubicBezTo>
                    <a:pt x="98" y="67"/>
                    <a:pt x="104" y="68"/>
                    <a:pt x="104" y="52"/>
                  </a:cubicBezTo>
                  <a:cubicBezTo>
                    <a:pt x="104" y="34"/>
                    <a:pt x="103" y="32"/>
                    <a:pt x="100" y="24"/>
                  </a:cubicBezTo>
                  <a:cubicBezTo>
                    <a:pt x="94" y="11"/>
                    <a:pt x="83" y="5"/>
                    <a:pt x="72" y="2"/>
                  </a:cubicBezTo>
                  <a:cubicBezTo>
                    <a:pt x="63" y="0"/>
                    <a:pt x="61" y="0"/>
                    <a:pt x="57" y="1"/>
                  </a:cubicBezTo>
                  <a:cubicBezTo>
                    <a:pt x="57" y="1"/>
                    <a:pt x="55" y="1"/>
                    <a:pt x="54" y="1"/>
                  </a:cubicBezTo>
                  <a:cubicBezTo>
                    <a:pt x="53" y="1"/>
                    <a:pt x="52" y="1"/>
                    <a:pt x="51" y="1"/>
                  </a:cubicBezTo>
                  <a:cubicBezTo>
                    <a:pt x="47" y="0"/>
                    <a:pt x="45" y="0"/>
                    <a:pt x="37" y="2"/>
                  </a:cubicBezTo>
                  <a:cubicBezTo>
                    <a:pt x="25" y="5"/>
                    <a:pt x="15" y="11"/>
                    <a:pt x="9" y="24"/>
                  </a:cubicBezTo>
                  <a:cubicBezTo>
                    <a:pt x="5" y="32"/>
                    <a:pt x="4" y="34"/>
                    <a:pt x="4" y="52"/>
                  </a:cubicBezTo>
                  <a:cubicBezTo>
                    <a:pt x="4" y="68"/>
                    <a:pt x="10" y="67"/>
                    <a:pt x="14" y="91"/>
                  </a:cubicBezTo>
                  <a:cubicBezTo>
                    <a:pt x="15" y="104"/>
                    <a:pt x="0" y="111"/>
                    <a:pt x="0" y="111"/>
                  </a:cubicBezTo>
                  <a:cubicBezTo>
                    <a:pt x="0" y="111"/>
                    <a:pt x="23" y="117"/>
                    <a:pt x="27" y="116"/>
                  </a:cubicBezTo>
                  <a:cubicBezTo>
                    <a:pt x="34" y="114"/>
                    <a:pt x="38" y="113"/>
                    <a:pt x="38" y="113"/>
                  </a:cubicBezTo>
                  <a:cubicBezTo>
                    <a:pt x="38" y="113"/>
                    <a:pt x="38" y="102"/>
                    <a:pt x="37" y="101"/>
                  </a:cubicBezTo>
                  <a:cubicBezTo>
                    <a:pt x="35" y="96"/>
                    <a:pt x="27" y="92"/>
                    <a:pt x="25" y="82"/>
                  </a:cubicBezTo>
                  <a:cubicBezTo>
                    <a:pt x="22" y="67"/>
                    <a:pt x="22" y="46"/>
                    <a:pt x="26" y="41"/>
                  </a:cubicBezTo>
                  <a:cubicBezTo>
                    <a:pt x="36" y="27"/>
                    <a:pt x="45" y="25"/>
                    <a:pt x="49" y="24"/>
                  </a:cubicBezTo>
                  <a:cubicBezTo>
                    <a:pt x="50" y="24"/>
                    <a:pt x="54" y="32"/>
                    <a:pt x="59" y="34"/>
                  </a:cubicBezTo>
                  <a:cubicBezTo>
                    <a:pt x="64" y="36"/>
                    <a:pt x="80" y="36"/>
                    <a:pt x="83" y="41"/>
                  </a:cubicBezTo>
                  <a:cubicBezTo>
                    <a:pt x="86" y="47"/>
                    <a:pt x="87" y="67"/>
                    <a:pt x="83" y="82"/>
                  </a:cubicBezTo>
                  <a:cubicBezTo>
                    <a:pt x="81" y="92"/>
                    <a:pt x="74" y="96"/>
                    <a:pt x="71" y="101"/>
                  </a:cubicBezTo>
                  <a:cubicBezTo>
                    <a:pt x="71" y="102"/>
                    <a:pt x="70" y="113"/>
                    <a:pt x="70" y="113"/>
                  </a:cubicBezTo>
                  <a:cubicBezTo>
                    <a:pt x="70" y="113"/>
                    <a:pt x="75" y="114"/>
                    <a:pt x="81" y="116"/>
                  </a:cubicBezTo>
                  <a:cubicBezTo>
                    <a:pt x="85" y="117"/>
                    <a:pt x="109" y="111"/>
                    <a:pt x="109" y="111"/>
                  </a:cubicBezTo>
                  <a:cubicBezTo>
                    <a:pt x="109" y="111"/>
                    <a:pt x="93" y="104"/>
                    <a:pt x="95" y="91"/>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9" name="Freeform 178"/>
            <p:cNvSpPr>
              <a:spLocks/>
            </p:cNvSpPr>
            <p:nvPr/>
          </p:nvSpPr>
          <p:spPr bwMode="auto">
            <a:xfrm>
              <a:off x="3439877" y="1187290"/>
              <a:ext cx="685800" cy="363705"/>
            </a:xfrm>
            <a:custGeom>
              <a:avLst/>
              <a:gdLst>
                <a:gd name="T0" fmla="*/ 182 w 188"/>
                <a:gd name="T1" fmla="*/ 27 h 100"/>
                <a:gd name="T2" fmla="*/ 143 w 188"/>
                <a:gd name="T3" fmla="*/ 4 h 100"/>
                <a:gd name="T4" fmla="*/ 145 w 188"/>
                <a:gd name="T5" fmla="*/ 13 h 100"/>
                <a:gd name="T6" fmla="*/ 149 w 188"/>
                <a:gd name="T7" fmla="*/ 37 h 100"/>
                <a:gd name="T8" fmla="*/ 127 w 188"/>
                <a:gd name="T9" fmla="*/ 25 h 100"/>
                <a:gd name="T10" fmla="*/ 113 w 188"/>
                <a:gd name="T11" fmla="*/ 54 h 100"/>
                <a:gd name="T12" fmla="*/ 97 w 188"/>
                <a:gd name="T13" fmla="*/ 72 h 100"/>
                <a:gd name="T14" fmla="*/ 97 w 188"/>
                <a:gd name="T15" fmla="*/ 72 h 100"/>
                <a:gd name="T16" fmla="*/ 97 w 188"/>
                <a:gd name="T17" fmla="*/ 72 h 100"/>
                <a:gd name="T18" fmla="*/ 81 w 188"/>
                <a:gd name="T19" fmla="*/ 54 h 100"/>
                <a:gd name="T20" fmla="*/ 67 w 188"/>
                <a:gd name="T21" fmla="*/ 25 h 100"/>
                <a:gd name="T22" fmla="*/ 45 w 188"/>
                <a:gd name="T23" fmla="*/ 37 h 100"/>
                <a:gd name="T24" fmla="*/ 49 w 188"/>
                <a:gd name="T25" fmla="*/ 13 h 100"/>
                <a:gd name="T26" fmla="*/ 51 w 188"/>
                <a:gd name="T27" fmla="*/ 0 h 100"/>
                <a:gd name="T28" fmla="*/ 7 w 188"/>
                <a:gd name="T29" fmla="*/ 27 h 100"/>
                <a:gd name="T30" fmla="*/ 2 w 188"/>
                <a:gd name="T31" fmla="*/ 100 h 100"/>
                <a:gd name="T32" fmla="*/ 93 w 188"/>
                <a:gd name="T33" fmla="*/ 100 h 100"/>
                <a:gd name="T34" fmla="*/ 95 w 188"/>
                <a:gd name="T35" fmla="*/ 100 h 100"/>
                <a:gd name="T36" fmla="*/ 187 w 188"/>
                <a:gd name="T37" fmla="*/ 100 h 100"/>
                <a:gd name="T38" fmla="*/ 182 w 188"/>
                <a:gd name="T39" fmla="*/ 2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100">
                  <a:moveTo>
                    <a:pt x="182" y="27"/>
                  </a:moveTo>
                  <a:cubicBezTo>
                    <a:pt x="177" y="18"/>
                    <a:pt x="161" y="13"/>
                    <a:pt x="143" y="4"/>
                  </a:cubicBezTo>
                  <a:cubicBezTo>
                    <a:pt x="144" y="8"/>
                    <a:pt x="145" y="12"/>
                    <a:pt x="145" y="13"/>
                  </a:cubicBezTo>
                  <a:cubicBezTo>
                    <a:pt x="147" y="18"/>
                    <a:pt x="149" y="37"/>
                    <a:pt x="149" y="37"/>
                  </a:cubicBezTo>
                  <a:cubicBezTo>
                    <a:pt x="127" y="25"/>
                    <a:pt x="127" y="25"/>
                    <a:pt x="127" y="25"/>
                  </a:cubicBezTo>
                  <a:cubicBezTo>
                    <a:pt x="127" y="25"/>
                    <a:pt x="117" y="45"/>
                    <a:pt x="113" y="54"/>
                  </a:cubicBezTo>
                  <a:cubicBezTo>
                    <a:pt x="109" y="63"/>
                    <a:pt x="97" y="72"/>
                    <a:pt x="97" y="72"/>
                  </a:cubicBezTo>
                  <a:cubicBezTo>
                    <a:pt x="97" y="72"/>
                    <a:pt x="97" y="72"/>
                    <a:pt x="97" y="72"/>
                  </a:cubicBezTo>
                  <a:cubicBezTo>
                    <a:pt x="97" y="72"/>
                    <a:pt x="97" y="72"/>
                    <a:pt x="97" y="72"/>
                  </a:cubicBezTo>
                  <a:cubicBezTo>
                    <a:pt x="96" y="72"/>
                    <a:pt x="85" y="63"/>
                    <a:pt x="81" y="54"/>
                  </a:cubicBezTo>
                  <a:cubicBezTo>
                    <a:pt x="77" y="45"/>
                    <a:pt x="67" y="25"/>
                    <a:pt x="67" y="25"/>
                  </a:cubicBezTo>
                  <a:cubicBezTo>
                    <a:pt x="45" y="37"/>
                    <a:pt x="45" y="37"/>
                    <a:pt x="45" y="37"/>
                  </a:cubicBezTo>
                  <a:cubicBezTo>
                    <a:pt x="45" y="37"/>
                    <a:pt x="47" y="18"/>
                    <a:pt x="49" y="13"/>
                  </a:cubicBezTo>
                  <a:cubicBezTo>
                    <a:pt x="49" y="11"/>
                    <a:pt x="50" y="6"/>
                    <a:pt x="51" y="0"/>
                  </a:cubicBezTo>
                  <a:cubicBezTo>
                    <a:pt x="31" y="11"/>
                    <a:pt x="12" y="17"/>
                    <a:pt x="7" y="27"/>
                  </a:cubicBezTo>
                  <a:cubicBezTo>
                    <a:pt x="0" y="37"/>
                    <a:pt x="2" y="100"/>
                    <a:pt x="2" y="100"/>
                  </a:cubicBezTo>
                  <a:cubicBezTo>
                    <a:pt x="93" y="100"/>
                    <a:pt x="93" y="100"/>
                    <a:pt x="93" y="100"/>
                  </a:cubicBezTo>
                  <a:cubicBezTo>
                    <a:pt x="95" y="100"/>
                    <a:pt x="95" y="100"/>
                    <a:pt x="95" y="100"/>
                  </a:cubicBezTo>
                  <a:cubicBezTo>
                    <a:pt x="187" y="100"/>
                    <a:pt x="187" y="100"/>
                    <a:pt x="187" y="100"/>
                  </a:cubicBezTo>
                  <a:cubicBezTo>
                    <a:pt x="187" y="100"/>
                    <a:pt x="188" y="37"/>
                    <a:pt x="182" y="27"/>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0" name="Freeform 35"/>
            <p:cNvSpPr>
              <a:spLocks noEditPoints="1"/>
            </p:cNvSpPr>
            <p:nvPr/>
          </p:nvSpPr>
          <p:spPr bwMode="auto">
            <a:xfrm>
              <a:off x="3662179" y="907979"/>
              <a:ext cx="241196" cy="85129"/>
            </a:xfrm>
            <a:custGeom>
              <a:avLst/>
              <a:gdLst>
                <a:gd name="T0" fmla="*/ 67 w 67"/>
                <a:gd name="T1" fmla="*/ 6 h 21"/>
                <a:gd name="T2" fmla="*/ 65 w 67"/>
                <a:gd name="T3" fmla="*/ 2 h 21"/>
                <a:gd name="T4" fmla="*/ 62 w 67"/>
                <a:gd name="T5" fmla="*/ 4 h 21"/>
                <a:gd name="T6" fmla="*/ 62 w 67"/>
                <a:gd name="T7" fmla="*/ 4 h 21"/>
                <a:gd name="T8" fmla="*/ 45 w 67"/>
                <a:gd name="T9" fmla="*/ 1 h 21"/>
                <a:gd name="T10" fmla="*/ 35 w 67"/>
                <a:gd name="T11" fmla="*/ 6 h 21"/>
                <a:gd name="T12" fmla="*/ 32 w 67"/>
                <a:gd name="T13" fmla="*/ 6 h 21"/>
                <a:gd name="T14" fmla="*/ 21 w 67"/>
                <a:gd name="T15" fmla="*/ 1 h 21"/>
                <a:gd name="T16" fmla="*/ 4 w 67"/>
                <a:gd name="T17" fmla="*/ 4 h 21"/>
                <a:gd name="T18" fmla="*/ 4 w 67"/>
                <a:gd name="T19" fmla="*/ 4 h 21"/>
                <a:gd name="T20" fmla="*/ 1 w 67"/>
                <a:gd name="T21" fmla="*/ 2 h 21"/>
                <a:gd name="T22" fmla="*/ 0 w 67"/>
                <a:gd name="T23" fmla="*/ 6 h 21"/>
                <a:gd name="T24" fmla="*/ 5 w 67"/>
                <a:gd name="T25" fmla="*/ 8 h 21"/>
                <a:gd name="T26" fmla="*/ 9 w 67"/>
                <a:gd name="T27" fmla="*/ 18 h 21"/>
                <a:gd name="T28" fmla="*/ 28 w 67"/>
                <a:gd name="T29" fmla="*/ 18 h 21"/>
                <a:gd name="T30" fmla="*/ 31 w 67"/>
                <a:gd name="T31" fmla="*/ 10 h 21"/>
                <a:gd name="T32" fmla="*/ 36 w 67"/>
                <a:gd name="T33" fmla="*/ 10 h 21"/>
                <a:gd name="T34" fmla="*/ 38 w 67"/>
                <a:gd name="T35" fmla="*/ 18 h 21"/>
                <a:gd name="T36" fmla="*/ 58 w 67"/>
                <a:gd name="T37" fmla="*/ 18 h 21"/>
                <a:gd name="T38" fmla="*/ 62 w 67"/>
                <a:gd name="T39" fmla="*/ 8 h 21"/>
                <a:gd name="T40" fmla="*/ 67 w 67"/>
                <a:gd name="T41" fmla="*/ 6 h 21"/>
                <a:gd name="T42" fmla="*/ 25 w 67"/>
                <a:gd name="T43" fmla="*/ 16 h 21"/>
                <a:gd name="T44" fmla="*/ 12 w 67"/>
                <a:gd name="T45" fmla="*/ 16 h 21"/>
                <a:gd name="T46" fmla="*/ 9 w 67"/>
                <a:gd name="T47" fmla="*/ 6 h 21"/>
                <a:gd name="T48" fmla="*/ 20 w 67"/>
                <a:gd name="T49" fmla="*/ 5 h 21"/>
                <a:gd name="T50" fmla="*/ 27 w 67"/>
                <a:gd name="T51" fmla="*/ 8 h 21"/>
                <a:gd name="T52" fmla="*/ 25 w 67"/>
                <a:gd name="T53" fmla="*/ 16 h 21"/>
                <a:gd name="T54" fmla="*/ 55 w 67"/>
                <a:gd name="T55" fmla="*/ 16 h 21"/>
                <a:gd name="T56" fmla="*/ 42 w 67"/>
                <a:gd name="T57" fmla="*/ 16 h 21"/>
                <a:gd name="T58" fmla="*/ 40 w 67"/>
                <a:gd name="T59" fmla="*/ 8 h 21"/>
                <a:gd name="T60" fmla="*/ 46 w 67"/>
                <a:gd name="T61" fmla="*/ 5 h 21"/>
                <a:gd name="T62" fmla="*/ 58 w 67"/>
                <a:gd name="T63" fmla="*/ 6 h 21"/>
                <a:gd name="T64" fmla="*/ 55 w 67"/>
                <a:gd name="T65"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21">
                  <a:moveTo>
                    <a:pt x="67" y="6"/>
                  </a:moveTo>
                  <a:cubicBezTo>
                    <a:pt x="65" y="2"/>
                    <a:pt x="65" y="2"/>
                    <a:pt x="65" y="2"/>
                  </a:cubicBezTo>
                  <a:cubicBezTo>
                    <a:pt x="62" y="4"/>
                    <a:pt x="62" y="4"/>
                    <a:pt x="62" y="4"/>
                  </a:cubicBezTo>
                  <a:cubicBezTo>
                    <a:pt x="62" y="4"/>
                    <a:pt x="62" y="4"/>
                    <a:pt x="62" y="4"/>
                  </a:cubicBezTo>
                  <a:cubicBezTo>
                    <a:pt x="62" y="4"/>
                    <a:pt x="51" y="0"/>
                    <a:pt x="45" y="1"/>
                  </a:cubicBezTo>
                  <a:cubicBezTo>
                    <a:pt x="40" y="3"/>
                    <a:pt x="35" y="6"/>
                    <a:pt x="35" y="6"/>
                  </a:cubicBezTo>
                  <a:cubicBezTo>
                    <a:pt x="32" y="6"/>
                    <a:pt x="32" y="6"/>
                    <a:pt x="32" y="6"/>
                  </a:cubicBezTo>
                  <a:cubicBezTo>
                    <a:pt x="31" y="6"/>
                    <a:pt x="27" y="3"/>
                    <a:pt x="21" y="1"/>
                  </a:cubicBezTo>
                  <a:cubicBezTo>
                    <a:pt x="15" y="0"/>
                    <a:pt x="4" y="4"/>
                    <a:pt x="4" y="4"/>
                  </a:cubicBezTo>
                  <a:cubicBezTo>
                    <a:pt x="4" y="4"/>
                    <a:pt x="4" y="4"/>
                    <a:pt x="4" y="4"/>
                  </a:cubicBezTo>
                  <a:cubicBezTo>
                    <a:pt x="1" y="2"/>
                    <a:pt x="1" y="2"/>
                    <a:pt x="1" y="2"/>
                  </a:cubicBezTo>
                  <a:cubicBezTo>
                    <a:pt x="0" y="6"/>
                    <a:pt x="0" y="6"/>
                    <a:pt x="0" y="6"/>
                  </a:cubicBezTo>
                  <a:cubicBezTo>
                    <a:pt x="5" y="8"/>
                    <a:pt x="5" y="8"/>
                    <a:pt x="5" y="8"/>
                  </a:cubicBezTo>
                  <a:cubicBezTo>
                    <a:pt x="5" y="12"/>
                    <a:pt x="6" y="17"/>
                    <a:pt x="9" y="18"/>
                  </a:cubicBezTo>
                  <a:cubicBezTo>
                    <a:pt x="13" y="21"/>
                    <a:pt x="26" y="21"/>
                    <a:pt x="28" y="18"/>
                  </a:cubicBezTo>
                  <a:cubicBezTo>
                    <a:pt x="30" y="17"/>
                    <a:pt x="30" y="13"/>
                    <a:pt x="31" y="10"/>
                  </a:cubicBezTo>
                  <a:cubicBezTo>
                    <a:pt x="36" y="10"/>
                    <a:pt x="36" y="10"/>
                    <a:pt x="36" y="10"/>
                  </a:cubicBezTo>
                  <a:cubicBezTo>
                    <a:pt x="36" y="13"/>
                    <a:pt x="37" y="17"/>
                    <a:pt x="38" y="18"/>
                  </a:cubicBezTo>
                  <a:cubicBezTo>
                    <a:pt x="40" y="21"/>
                    <a:pt x="54" y="21"/>
                    <a:pt x="58" y="18"/>
                  </a:cubicBezTo>
                  <a:cubicBezTo>
                    <a:pt x="60" y="17"/>
                    <a:pt x="61" y="12"/>
                    <a:pt x="62" y="8"/>
                  </a:cubicBezTo>
                  <a:lnTo>
                    <a:pt x="67" y="6"/>
                  </a:lnTo>
                  <a:close/>
                  <a:moveTo>
                    <a:pt x="25" y="16"/>
                  </a:moveTo>
                  <a:cubicBezTo>
                    <a:pt x="24" y="17"/>
                    <a:pt x="15" y="18"/>
                    <a:pt x="12" y="16"/>
                  </a:cubicBezTo>
                  <a:cubicBezTo>
                    <a:pt x="9" y="14"/>
                    <a:pt x="9" y="6"/>
                    <a:pt x="9" y="6"/>
                  </a:cubicBezTo>
                  <a:cubicBezTo>
                    <a:pt x="9" y="6"/>
                    <a:pt x="16" y="4"/>
                    <a:pt x="20" y="5"/>
                  </a:cubicBezTo>
                  <a:cubicBezTo>
                    <a:pt x="24" y="6"/>
                    <a:pt x="27" y="8"/>
                    <a:pt x="27" y="8"/>
                  </a:cubicBezTo>
                  <a:cubicBezTo>
                    <a:pt x="27" y="8"/>
                    <a:pt x="26" y="14"/>
                    <a:pt x="25" y="16"/>
                  </a:cubicBezTo>
                  <a:close/>
                  <a:moveTo>
                    <a:pt x="55" y="16"/>
                  </a:moveTo>
                  <a:cubicBezTo>
                    <a:pt x="52" y="18"/>
                    <a:pt x="43" y="17"/>
                    <a:pt x="42" y="16"/>
                  </a:cubicBezTo>
                  <a:cubicBezTo>
                    <a:pt x="40" y="14"/>
                    <a:pt x="40" y="8"/>
                    <a:pt x="40" y="8"/>
                  </a:cubicBezTo>
                  <a:cubicBezTo>
                    <a:pt x="40" y="8"/>
                    <a:pt x="42" y="6"/>
                    <a:pt x="46" y="5"/>
                  </a:cubicBezTo>
                  <a:cubicBezTo>
                    <a:pt x="50" y="4"/>
                    <a:pt x="58" y="6"/>
                    <a:pt x="58" y="6"/>
                  </a:cubicBezTo>
                  <a:cubicBezTo>
                    <a:pt x="58" y="6"/>
                    <a:pt x="58" y="14"/>
                    <a:pt x="55" y="16"/>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nvGrpSpPr>
            <p:cNvPr id="5" name="Group 4"/>
            <p:cNvGrpSpPr/>
            <p:nvPr/>
          </p:nvGrpSpPr>
          <p:grpSpPr>
            <a:xfrm>
              <a:off x="3651215" y="1186736"/>
              <a:ext cx="257179" cy="83430"/>
              <a:chOff x="3679790" y="1189117"/>
              <a:chExt cx="208566" cy="67660"/>
            </a:xfrm>
            <a:grpFill/>
          </p:grpSpPr>
          <p:sp>
            <p:nvSpPr>
              <p:cNvPr id="128" name="Freeform 8"/>
              <p:cNvSpPr>
                <a:spLocks/>
              </p:cNvSpPr>
              <p:nvPr/>
            </p:nvSpPr>
            <p:spPr bwMode="auto">
              <a:xfrm>
                <a:off x="3679790" y="1189117"/>
                <a:ext cx="208566" cy="60517"/>
              </a:xfrm>
              <a:custGeom>
                <a:avLst/>
                <a:gdLst>
                  <a:gd name="T0" fmla="*/ 83 w 162"/>
                  <a:gd name="T1" fmla="*/ 47 h 47"/>
                  <a:gd name="T2" fmla="*/ 0 w 162"/>
                  <a:gd name="T3" fmla="*/ 4 h 47"/>
                  <a:gd name="T4" fmla="*/ 4 w 162"/>
                  <a:gd name="T5" fmla="*/ 1 h 47"/>
                  <a:gd name="T6" fmla="*/ 83 w 162"/>
                  <a:gd name="T7" fmla="*/ 43 h 47"/>
                  <a:gd name="T8" fmla="*/ 158 w 162"/>
                  <a:gd name="T9" fmla="*/ 0 h 47"/>
                  <a:gd name="T10" fmla="*/ 162 w 162"/>
                  <a:gd name="T11" fmla="*/ 2 h 47"/>
                  <a:gd name="T12" fmla="*/ 83 w 16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62" h="47">
                    <a:moveTo>
                      <a:pt x="83" y="47"/>
                    </a:moveTo>
                    <a:cubicBezTo>
                      <a:pt x="36" y="47"/>
                      <a:pt x="2" y="6"/>
                      <a:pt x="0" y="4"/>
                    </a:cubicBezTo>
                    <a:cubicBezTo>
                      <a:pt x="4" y="1"/>
                      <a:pt x="4" y="1"/>
                      <a:pt x="4" y="1"/>
                    </a:cubicBezTo>
                    <a:cubicBezTo>
                      <a:pt x="4" y="2"/>
                      <a:pt x="38" y="43"/>
                      <a:pt x="83" y="43"/>
                    </a:cubicBezTo>
                    <a:cubicBezTo>
                      <a:pt x="127" y="43"/>
                      <a:pt x="158" y="1"/>
                      <a:pt x="158" y="0"/>
                    </a:cubicBezTo>
                    <a:cubicBezTo>
                      <a:pt x="162" y="2"/>
                      <a:pt x="162" y="2"/>
                      <a:pt x="162" y="2"/>
                    </a:cubicBezTo>
                    <a:cubicBezTo>
                      <a:pt x="160" y="4"/>
                      <a:pt x="129" y="47"/>
                      <a:pt x="83" y="47"/>
                    </a:cubicBezTo>
                    <a:close/>
                  </a:path>
                </a:pathLst>
              </a:custGeom>
              <a:grpFill/>
              <a:ln>
                <a:noFill/>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9" name="Oval 128"/>
              <p:cNvSpPr>
                <a:spLocks noChangeAspect="1"/>
              </p:cNvSpPr>
              <p:nvPr/>
            </p:nvSpPr>
            <p:spPr>
              <a:xfrm>
                <a:off x="3774868" y="1238367"/>
                <a:ext cx="18410" cy="18410"/>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grpSp>
      </p:grpSp>
      <p:sp>
        <p:nvSpPr>
          <p:cNvPr id="22" name="Rectangle 21"/>
          <p:cNvSpPr/>
          <p:nvPr/>
        </p:nvSpPr>
        <p:spPr bwMode="auto">
          <a:xfrm>
            <a:off x="6134536" y="3246956"/>
            <a:ext cx="2727235" cy="207195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45711" rIns="182854" bIns="45711" numCol="1" rtlCol="0" anchor="ctr" anchorCtr="0" compatLnSpc="1">
            <a:prstTxWarp prst="textNoShape">
              <a:avLst/>
            </a:prstTxWarp>
          </a:bodyPr>
          <a:lstStyle/>
          <a:p>
            <a:pPr marL="690430" defTabSz="913924" fontAlgn="base">
              <a:spcBef>
                <a:spcPct val="0"/>
              </a:spcBef>
              <a:spcAft>
                <a:spcPct val="0"/>
              </a:spcAft>
              <a:defRPr/>
            </a:pPr>
            <a:r>
              <a:rPr lang="en-US" sz="1961" b="1" kern="0" dirty="0">
                <a:gradFill>
                  <a:gsLst>
                    <a:gs pos="1250">
                      <a:srgbClr val="FFFFFF"/>
                    </a:gs>
                    <a:gs pos="100000">
                      <a:srgbClr val="FFFFFF"/>
                    </a:gs>
                  </a:gsLst>
                  <a:lin ang="5400000" scaled="0"/>
                </a:gradFill>
              </a:rPr>
              <a:t> Judy</a:t>
            </a:r>
            <a:br>
              <a:rPr lang="en-US" sz="1961" b="1" kern="0" dirty="0">
                <a:gradFill>
                  <a:gsLst>
                    <a:gs pos="1250">
                      <a:srgbClr val="FFFFFF"/>
                    </a:gs>
                    <a:gs pos="100000">
                      <a:srgbClr val="FFFFFF"/>
                    </a:gs>
                  </a:gsLst>
                  <a:lin ang="5400000" scaled="0"/>
                </a:gradFill>
              </a:rPr>
            </a:br>
            <a:r>
              <a:rPr lang="en-US" sz="1961" b="1" kern="0" dirty="0">
                <a:gradFill>
                  <a:gsLst>
                    <a:gs pos="1250">
                      <a:srgbClr val="FFFFFF"/>
                    </a:gs>
                    <a:gs pos="100000">
                      <a:srgbClr val="FFFFFF"/>
                    </a:gs>
                  </a:gsLst>
                  <a:lin ang="5400000" scaled="0"/>
                </a:gradFill>
              </a:rPr>
              <a:t> </a:t>
            </a:r>
            <a:r>
              <a:rPr lang="en-US" sz="1568" b="1" kern="0" dirty="0">
                <a:gradFill>
                  <a:gsLst>
                    <a:gs pos="1250">
                      <a:srgbClr val="FFFFFF"/>
                    </a:gs>
                    <a:gs pos="100000">
                      <a:srgbClr val="FFFFFF"/>
                    </a:gs>
                  </a:gsLst>
                  <a:lin ang="5400000" scaled="0"/>
                </a:gradFill>
              </a:rPr>
              <a:t>Security Ops</a:t>
            </a:r>
            <a:endParaRPr lang="en-US" sz="3137" b="1" kern="0" dirty="0">
              <a:gradFill>
                <a:gsLst>
                  <a:gs pos="1250">
                    <a:srgbClr val="FFFFFF"/>
                  </a:gs>
                  <a:gs pos="100000">
                    <a:srgbClr val="FFFFFF"/>
                  </a:gs>
                </a:gsLst>
                <a:lin ang="5400000" scaled="0"/>
              </a:gradFill>
            </a:endParaRPr>
          </a:p>
          <a:p>
            <a:pPr defTabSz="914225">
              <a:spcBef>
                <a:spcPts val="2353"/>
              </a:spcBef>
              <a:defRPr/>
            </a:pPr>
            <a:r>
              <a:rPr lang="en-US" sz="1568" kern="0" dirty="0">
                <a:gradFill>
                  <a:gsLst>
                    <a:gs pos="1250">
                      <a:srgbClr val="FFFFFF"/>
                    </a:gs>
                    <a:gs pos="100000">
                      <a:srgbClr val="FFFFFF"/>
                    </a:gs>
                  </a:gsLst>
                  <a:lin ang="5400000" scaled="0"/>
                </a:gradFill>
              </a:rPr>
              <a:t>Monitors and responds to security alerts 24/7</a:t>
            </a:r>
            <a:br>
              <a:rPr lang="en-US" sz="1568" kern="0" dirty="0">
                <a:gradFill>
                  <a:gsLst>
                    <a:gs pos="1250">
                      <a:srgbClr val="FFFFFF"/>
                    </a:gs>
                    <a:gs pos="100000">
                      <a:srgbClr val="FFFFFF"/>
                    </a:gs>
                  </a:gsLst>
                  <a:lin ang="5400000" scaled="0"/>
                </a:gradFill>
              </a:rPr>
            </a:br>
            <a:endParaRPr lang="en-US" sz="1568" kern="0" dirty="0">
              <a:gradFill>
                <a:gsLst>
                  <a:gs pos="1250">
                    <a:srgbClr val="FFFFFF"/>
                  </a:gs>
                  <a:gs pos="100000">
                    <a:srgbClr val="FFFFFF"/>
                  </a:gs>
                </a:gsLst>
                <a:lin ang="5400000" scaled="0"/>
              </a:gradFill>
            </a:endParaRPr>
          </a:p>
        </p:txBody>
      </p:sp>
      <p:grpSp>
        <p:nvGrpSpPr>
          <p:cNvPr id="105" name="Group 4"/>
          <p:cNvGrpSpPr>
            <a:grpSpLocks noChangeAspect="1"/>
          </p:cNvGrpSpPr>
          <p:nvPr/>
        </p:nvGrpSpPr>
        <p:grpSpPr bwMode="auto">
          <a:xfrm>
            <a:off x="6243534" y="3320428"/>
            <a:ext cx="666804" cy="778917"/>
            <a:chOff x="3481" y="1562"/>
            <a:chExt cx="908" cy="1100"/>
          </a:xfrm>
          <a:solidFill>
            <a:schemeClr val="bg1"/>
          </a:solidFill>
        </p:grpSpPr>
        <p:sp>
          <p:nvSpPr>
            <p:cNvPr id="106" name="Freeform 5"/>
            <p:cNvSpPr>
              <a:spLocks/>
            </p:cNvSpPr>
            <p:nvPr/>
          </p:nvSpPr>
          <p:spPr bwMode="auto">
            <a:xfrm>
              <a:off x="3481" y="2187"/>
              <a:ext cx="908" cy="475"/>
            </a:xfrm>
            <a:custGeom>
              <a:avLst/>
              <a:gdLst>
                <a:gd name="T0" fmla="*/ 369 w 381"/>
                <a:gd name="T1" fmla="*/ 53 h 200"/>
                <a:gd name="T2" fmla="*/ 282 w 381"/>
                <a:gd name="T3" fmla="*/ 0 h 200"/>
                <a:gd name="T4" fmla="*/ 256 w 381"/>
                <a:gd name="T5" fmla="*/ 61 h 200"/>
                <a:gd name="T6" fmla="*/ 193 w 381"/>
                <a:gd name="T7" fmla="*/ 119 h 200"/>
                <a:gd name="T8" fmla="*/ 126 w 381"/>
                <a:gd name="T9" fmla="*/ 61 h 200"/>
                <a:gd name="T10" fmla="*/ 102 w 381"/>
                <a:gd name="T11" fmla="*/ 0 h 200"/>
                <a:gd name="T12" fmla="*/ 15 w 381"/>
                <a:gd name="T13" fmla="*/ 53 h 200"/>
                <a:gd name="T14" fmla="*/ 4 w 381"/>
                <a:gd name="T15" fmla="*/ 200 h 200"/>
                <a:gd name="T16" fmla="*/ 189 w 381"/>
                <a:gd name="T17" fmla="*/ 200 h 200"/>
                <a:gd name="T18" fmla="*/ 193 w 381"/>
                <a:gd name="T19" fmla="*/ 200 h 200"/>
                <a:gd name="T20" fmla="*/ 379 w 381"/>
                <a:gd name="T21" fmla="*/ 200 h 200"/>
                <a:gd name="T22" fmla="*/ 369 w 381"/>
                <a:gd name="T23" fmla="*/ 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1" h="200">
                  <a:moveTo>
                    <a:pt x="369" y="53"/>
                  </a:moveTo>
                  <a:cubicBezTo>
                    <a:pt x="357" y="32"/>
                    <a:pt x="322" y="22"/>
                    <a:pt x="282" y="0"/>
                  </a:cubicBezTo>
                  <a:cubicBezTo>
                    <a:pt x="274" y="20"/>
                    <a:pt x="260" y="50"/>
                    <a:pt x="256" y="61"/>
                  </a:cubicBezTo>
                  <a:cubicBezTo>
                    <a:pt x="241" y="97"/>
                    <a:pt x="193" y="119"/>
                    <a:pt x="193" y="119"/>
                  </a:cubicBezTo>
                  <a:cubicBezTo>
                    <a:pt x="193" y="119"/>
                    <a:pt x="137" y="94"/>
                    <a:pt x="126" y="61"/>
                  </a:cubicBezTo>
                  <a:cubicBezTo>
                    <a:pt x="123" y="50"/>
                    <a:pt x="110" y="20"/>
                    <a:pt x="102" y="0"/>
                  </a:cubicBezTo>
                  <a:cubicBezTo>
                    <a:pt x="61" y="20"/>
                    <a:pt x="25" y="32"/>
                    <a:pt x="15" y="53"/>
                  </a:cubicBezTo>
                  <a:cubicBezTo>
                    <a:pt x="0" y="73"/>
                    <a:pt x="4" y="200"/>
                    <a:pt x="4" y="200"/>
                  </a:cubicBezTo>
                  <a:cubicBezTo>
                    <a:pt x="189" y="200"/>
                    <a:pt x="189" y="200"/>
                    <a:pt x="189" y="200"/>
                  </a:cubicBezTo>
                  <a:cubicBezTo>
                    <a:pt x="193" y="200"/>
                    <a:pt x="193" y="200"/>
                    <a:pt x="193" y="200"/>
                  </a:cubicBezTo>
                  <a:cubicBezTo>
                    <a:pt x="379" y="200"/>
                    <a:pt x="379" y="200"/>
                    <a:pt x="379" y="200"/>
                  </a:cubicBezTo>
                  <a:cubicBezTo>
                    <a:pt x="379" y="200"/>
                    <a:pt x="381" y="73"/>
                    <a:pt x="36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07" name="Freeform 6"/>
            <p:cNvSpPr>
              <a:spLocks/>
            </p:cNvSpPr>
            <p:nvPr/>
          </p:nvSpPr>
          <p:spPr bwMode="auto">
            <a:xfrm>
              <a:off x="3689" y="1562"/>
              <a:ext cx="493" cy="582"/>
            </a:xfrm>
            <a:custGeom>
              <a:avLst/>
              <a:gdLst>
                <a:gd name="T0" fmla="*/ 197 w 207"/>
                <a:gd name="T1" fmla="*/ 65 h 245"/>
                <a:gd name="T2" fmla="*/ 170 w 207"/>
                <a:gd name="T3" fmla="*/ 33 h 245"/>
                <a:gd name="T4" fmla="*/ 140 w 207"/>
                <a:gd name="T5" fmla="*/ 8 h 245"/>
                <a:gd name="T6" fmla="*/ 112 w 207"/>
                <a:gd name="T7" fmla="*/ 0 h 245"/>
                <a:gd name="T8" fmla="*/ 97 w 207"/>
                <a:gd name="T9" fmla="*/ 4 h 245"/>
                <a:gd name="T10" fmla="*/ 67 w 207"/>
                <a:gd name="T11" fmla="*/ 8 h 245"/>
                <a:gd name="T12" fmla="*/ 38 w 207"/>
                <a:gd name="T13" fmla="*/ 25 h 245"/>
                <a:gd name="T14" fmla="*/ 9 w 207"/>
                <a:gd name="T15" fmla="*/ 57 h 245"/>
                <a:gd name="T16" fmla="*/ 8 w 207"/>
                <a:gd name="T17" fmla="*/ 85 h 245"/>
                <a:gd name="T18" fmla="*/ 0 w 207"/>
                <a:gd name="T19" fmla="*/ 128 h 245"/>
                <a:gd name="T20" fmla="*/ 15 w 207"/>
                <a:gd name="T21" fmla="*/ 178 h 245"/>
                <a:gd name="T22" fmla="*/ 17 w 207"/>
                <a:gd name="T23" fmla="*/ 226 h 245"/>
                <a:gd name="T24" fmla="*/ 25 w 207"/>
                <a:gd name="T25" fmla="*/ 238 h 245"/>
                <a:gd name="T26" fmla="*/ 32 w 207"/>
                <a:gd name="T27" fmla="*/ 245 h 245"/>
                <a:gd name="T28" fmla="*/ 48 w 207"/>
                <a:gd name="T29" fmla="*/ 239 h 245"/>
                <a:gd name="T30" fmla="*/ 71 w 207"/>
                <a:gd name="T31" fmla="*/ 233 h 245"/>
                <a:gd name="T32" fmla="*/ 69 w 207"/>
                <a:gd name="T33" fmla="*/ 209 h 245"/>
                <a:gd name="T34" fmla="*/ 44 w 207"/>
                <a:gd name="T35" fmla="*/ 170 h 245"/>
                <a:gd name="T36" fmla="*/ 44 w 207"/>
                <a:gd name="T37" fmla="*/ 87 h 245"/>
                <a:gd name="T38" fmla="*/ 87 w 207"/>
                <a:gd name="T39" fmla="*/ 69 h 245"/>
                <a:gd name="T40" fmla="*/ 103 w 207"/>
                <a:gd name="T41" fmla="*/ 54 h 245"/>
                <a:gd name="T42" fmla="*/ 140 w 207"/>
                <a:gd name="T43" fmla="*/ 72 h 245"/>
                <a:gd name="T44" fmla="*/ 162 w 207"/>
                <a:gd name="T45" fmla="*/ 87 h 245"/>
                <a:gd name="T46" fmla="*/ 162 w 207"/>
                <a:gd name="T47" fmla="*/ 170 h 245"/>
                <a:gd name="T48" fmla="*/ 138 w 207"/>
                <a:gd name="T49" fmla="*/ 209 h 245"/>
                <a:gd name="T50" fmla="*/ 136 w 207"/>
                <a:gd name="T51" fmla="*/ 233 h 245"/>
                <a:gd name="T52" fmla="*/ 158 w 207"/>
                <a:gd name="T53" fmla="*/ 239 h 245"/>
                <a:gd name="T54" fmla="*/ 174 w 207"/>
                <a:gd name="T55" fmla="*/ 245 h 245"/>
                <a:gd name="T56" fmla="*/ 187 w 207"/>
                <a:gd name="T57" fmla="*/ 231 h 245"/>
                <a:gd name="T58" fmla="*/ 197 w 207"/>
                <a:gd name="T59" fmla="*/ 168 h 245"/>
                <a:gd name="T60" fmla="*/ 207 w 207"/>
                <a:gd name="T61" fmla="*/ 134 h 245"/>
                <a:gd name="T62" fmla="*/ 199 w 207"/>
                <a:gd name="T63" fmla="*/ 90 h 245"/>
                <a:gd name="T64" fmla="*/ 197 w 207"/>
                <a:gd name="T65" fmla="*/ 6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7" h="245">
                  <a:moveTo>
                    <a:pt x="197" y="65"/>
                  </a:moveTo>
                  <a:cubicBezTo>
                    <a:pt x="192" y="54"/>
                    <a:pt x="178" y="42"/>
                    <a:pt x="170" y="33"/>
                  </a:cubicBezTo>
                  <a:cubicBezTo>
                    <a:pt x="159" y="20"/>
                    <a:pt x="153" y="11"/>
                    <a:pt x="140" y="8"/>
                  </a:cubicBezTo>
                  <a:cubicBezTo>
                    <a:pt x="122" y="4"/>
                    <a:pt x="120" y="0"/>
                    <a:pt x="112" y="0"/>
                  </a:cubicBezTo>
                  <a:cubicBezTo>
                    <a:pt x="109" y="0"/>
                    <a:pt x="99" y="4"/>
                    <a:pt x="97" y="4"/>
                  </a:cubicBezTo>
                  <a:cubicBezTo>
                    <a:pt x="88" y="3"/>
                    <a:pt x="84" y="3"/>
                    <a:pt x="67" y="8"/>
                  </a:cubicBezTo>
                  <a:cubicBezTo>
                    <a:pt x="56" y="11"/>
                    <a:pt x="56" y="17"/>
                    <a:pt x="38" y="25"/>
                  </a:cubicBezTo>
                  <a:cubicBezTo>
                    <a:pt x="26" y="30"/>
                    <a:pt x="15" y="43"/>
                    <a:pt x="9" y="57"/>
                  </a:cubicBezTo>
                  <a:cubicBezTo>
                    <a:pt x="6" y="63"/>
                    <a:pt x="9" y="78"/>
                    <a:pt x="8" y="85"/>
                  </a:cubicBezTo>
                  <a:cubicBezTo>
                    <a:pt x="5" y="97"/>
                    <a:pt x="0" y="103"/>
                    <a:pt x="0" y="128"/>
                  </a:cubicBezTo>
                  <a:cubicBezTo>
                    <a:pt x="0" y="152"/>
                    <a:pt x="7" y="155"/>
                    <a:pt x="15" y="178"/>
                  </a:cubicBezTo>
                  <a:cubicBezTo>
                    <a:pt x="17" y="186"/>
                    <a:pt x="14" y="214"/>
                    <a:pt x="17" y="226"/>
                  </a:cubicBezTo>
                  <a:cubicBezTo>
                    <a:pt x="17" y="229"/>
                    <a:pt x="24" y="236"/>
                    <a:pt x="25" y="238"/>
                  </a:cubicBezTo>
                  <a:cubicBezTo>
                    <a:pt x="29" y="243"/>
                    <a:pt x="32" y="245"/>
                    <a:pt x="32" y="245"/>
                  </a:cubicBezTo>
                  <a:cubicBezTo>
                    <a:pt x="32" y="245"/>
                    <a:pt x="40" y="241"/>
                    <a:pt x="48" y="239"/>
                  </a:cubicBezTo>
                  <a:cubicBezTo>
                    <a:pt x="60" y="235"/>
                    <a:pt x="71" y="233"/>
                    <a:pt x="71" y="233"/>
                  </a:cubicBezTo>
                  <a:cubicBezTo>
                    <a:pt x="71" y="233"/>
                    <a:pt x="71" y="211"/>
                    <a:pt x="69" y="209"/>
                  </a:cubicBezTo>
                  <a:cubicBezTo>
                    <a:pt x="65" y="199"/>
                    <a:pt x="48" y="191"/>
                    <a:pt x="44" y="170"/>
                  </a:cubicBezTo>
                  <a:cubicBezTo>
                    <a:pt x="38" y="140"/>
                    <a:pt x="38" y="97"/>
                    <a:pt x="44" y="87"/>
                  </a:cubicBezTo>
                  <a:cubicBezTo>
                    <a:pt x="54" y="73"/>
                    <a:pt x="75" y="73"/>
                    <a:pt x="87" y="69"/>
                  </a:cubicBezTo>
                  <a:cubicBezTo>
                    <a:pt x="97" y="65"/>
                    <a:pt x="99" y="54"/>
                    <a:pt x="103" y="54"/>
                  </a:cubicBezTo>
                  <a:cubicBezTo>
                    <a:pt x="109" y="54"/>
                    <a:pt x="127" y="59"/>
                    <a:pt x="140" y="72"/>
                  </a:cubicBezTo>
                  <a:cubicBezTo>
                    <a:pt x="145" y="77"/>
                    <a:pt x="156" y="80"/>
                    <a:pt x="162" y="87"/>
                  </a:cubicBezTo>
                  <a:cubicBezTo>
                    <a:pt x="168" y="97"/>
                    <a:pt x="168" y="140"/>
                    <a:pt x="162" y="170"/>
                  </a:cubicBezTo>
                  <a:cubicBezTo>
                    <a:pt x="158" y="191"/>
                    <a:pt x="142" y="199"/>
                    <a:pt x="138" y="209"/>
                  </a:cubicBezTo>
                  <a:cubicBezTo>
                    <a:pt x="136" y="211"/>
                    <a:pt x="136" y="233"/>
                    <a:pt x="136" y="233"/>
                  </a:cubicBezTo>
                  <a:cubicBezTo>
                    <a:pt x="136" y="233"/>
                    <a:pt x="146" y="235"/>
                    <a:pt x="158" y="239"/>
                  </a:cubicBezTo>
                  <a:cubicBezTo>
                    <a:pt x="166" y="241"/>
                    <a:pt x="174" y="245"/>
                    <a:pt x="174" y="245"/>
                  </a:cubicBezTo>
                  <a:cubicBezTo>
                    <a:pt x="174" y="245"/>
                    <a:pt x="181" y="239"/>
                    <a:pt x="187" y="231"/>
                  </a:cubicBezTo>
                  <a:cubicBezTo>
                    <a:pt x="196" y="216"/>
                    <a:pt x="194" y="190"/>
                    <a:pt x="197" y="168"/>
                  </a:cubicBezTo>
                  <a:cubicBezTo>
                    <a:pt x="199" y="155"/>
                    <a:pt x="207" y="146"/>
                    <a:pt x="207" y="134"/>
                  </a:cubicBezTo>
                  <a:cubicBezTo>
                    <a:pt x="207" y="117"/>
                    <a:pt x="200" y="100"/>
                    <a:pt x="199" y="90"/>
                  </a:cubicBezTo>
                  <a:cubicBezTo>
                    <a:pt x="197" y="78"/>
                    <a:pt x="200" y="73"/>
                    <a:pt x="197"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nvGrpSpPr>
          <p:cNvPr id="130" name="Group 129"/>
          <p:cNvGrpSpPr/>
          <p:nvPr/>
        </p:nvGrpSpPr>
        <p:grpSpPr>
          <a:xfrm>
            <a:off x="6451435" y="3740671"/>
            <a:ext cx="250008" cy="106263"/>
            <a:chOff x="6309610" y="1871475"/>
            <a:chExt cx="177389" cy="78193"/>
          </a:xfrm>
          <a:solidFill>
            <a:schemeClr val="bg1"/>
          </a:solidFill>
        </p:grpSpPr>
        <p:sp>
          <p:nvSpPr>
            <p:cNvPr id="131" name="Oval 130"/>
            <p:cNvSpPr>
              <a:spLocks noChangeAspect="1"/>
            </p:cNvSpPr>
            <p:nvPr/>
          </p:nvSpPr>
          <p:spPr>
            <a:xfrm>
              <a:off x="6381036" y="1915150"/>
              <a:ext cx="34517" cy="3451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nvGrpSpPr>
            <p:cNvPr id="132" name="Group 131"/>
            <p:cNvGrpSpPr/>
            <p:nvPr/>
          </p:nvGrpSpPr>
          <p:grpSpPr>
            <a:xfrm>
              <a:off x="6417259" y="1871475"/>
              <a:ext cx="69740" cy="59231"/>
              <a:chOff x="5230376" y="2607624"/>
              <a:chExt cx="69279" cy="58838"/>
            </a:xfrm>
            <a:grpFill/>
          </p:grpSpPr>
          <p:sp>
            <p:nvSpPr>
              <p:cNvPr id="138" name="Oval 137"/>
              <p:cNvSpPr>
                <a:spLocks noChangeAspect="1"/>
              </p:cNvSpPr>
              <p:nvPr/>
            </p:nvSpPr>
            <p:spPr>
              <a:xfrm>
                <a:off x="5230376" y="264817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139" name="Oval 138"/>
              <p:cNvSpPr>
                <a:spLocks noChangeAspect="1"/>
              </p:cNvSpPr>
              <p:nvPr/>
            </p:nvSpPr>
            <p:spPr>
              <a:xfrm>
                <a:off x="5247521" y="263674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140" name="Oval 139"/>
              <p:cNvSpPr>
                <a:spLocks noChangeAspect="1"/>
              </p:cNvSpPr>
              <p:nvPr/>
            </p:nvSpPr>
            <p:spPr>
              <a:xfrm>
                <a:off x="5264222" y="262286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141" name="Oval 140"/>
              <p:cNvSpPr>
                <a:spLocks noChangeAspect="1"/>
              </p:cNvSpPr>
              <p:nvPr/>
            </p:nvSpPr>
            <p:spPr>
              <a:xfrm>
                <a:off x="5281367" y="260762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grpSp>
        <p:grpSp>
          <p:nvGrpSpPr>
            <p:cNvPr id="133" name="Group 132"/>
            <p:cNvGrpSpPr/>
            <p:nvPr/>
          </p:nvGrpSpPr>
          <p:grpSpPr>
            <a:xfrm flipH="1">
              <a:off x="6309610" y="1871482"/>
              <a:ext cx="69740" cy="59231"/>
              <a:chOff x="5230376" y="2607624"/>
              <a:chExt cx="69279" cy="58838"/>
            </a:xfrm>
            <a:grpFill/>
          </p:grpSpPr>
          <p:sp>
            <p:nvSpPr>
              <p:cNvPr id="134" name="Oval 133"/>
              <p:cNvSpPr>
                <a:spLocks noChangeAspect="1"/>
              </p:cNvSpPr>
              <p:nvPr/>
            </p:nvSpPr>
            <p:spPr>
              <a:xfrm>
                <a:off x="5230376" y="264817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135" name="Oval 134"/>
              <p:cNvSpPr>
                <a:spLocks noChangeAspect="1"/>
              </p:cNvSpPr>
              <p:nvPr/>
            </p:nvSpPr>
            <p:spPr>
              <a:xfrm>
                <a:off x="5247521" y="263674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136" name="Oval 135"/>
              <p:cNvSpPr>
                <a:spLocks noChangeAspect="1"/>
              </p:cNvSpPr>
              <p:nvPr/>
            </p:nvSpPr>
            <p:spPr>
              <a:xfrm>
                <a:off x="5264222" y="262286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sp>
            <p:nvSpPr>
              <p:cNvPr id="137" name="Oval 136"/>
              <p:cNvSpPr>
                <a:spLocks noChangeAspect="1"/>
              </p:cNvSpPr>
              <p:nvPr/>
            </p:nvSpPr>
            <p:spPr>
              <a:xfrm>
                <a:off x="5281367" y="2607624"/>
                <a:ext cx="18288" cy="18288"/>
              </a:xfrm>
              <a:prstGeom prst="ellipse">
                <a:avLst/>
              </a:pr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FFFFFF"/>
                  </a:solidFill>
                </a:endParaRPr>
              </a:p>
            </p:txBody>
          </p:sp>
        </p:grpSp>
      </p:grpSp>
      <p:sp>
        <p:nvSpPr>
          <p:cNvPr id="60" name="Title 1"/>
          <p:cNvSpPr>
            <a:spLocks noGrp="1"/>
          </p:cNvSpPr>
          <p:nvPr>
            <p:ph type="title"/>
          </p:nvPr>
        </p:nvSpPr>
        <p:spPr>
          <a:xfrm>
            <a:off x="343941" y="327942"/>
            <a:ext cx="11581140" cy="899537"/>
          </a:xfrm>
        </p:spPr>
        <p:txBody>
          <a:bodyPr/>
          <a:lstStyle/>
          <a:p>
            <a:r>
              <a:rPr lang="en-US" dirty="0"/>
              <a:t>Distributed security responsibilities</a:t>
            </a:r>
          </a:p>
        </p:txBody>
      </p:sp>
    </p:spTree>
    <p:extLst>
      <p:ext uri="{BB962C8B-B14F-4D97-AF65-F5344CB8AC3E}">
        <p14:creationId xmlns:p14="http://schemas.microsoft.com/office/powerpoint/2010/main" val="214325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icrosoft Azure Security Center</a:t>
            </a:r>
          </a:p>
        </p:txBody>
      </p:sp>
      <p:sp>
        <p:nvSpPr>
          <p:cNvPr id="61" name="TextBox 60"/>
          <p:cNvSpPr txBox="1"/>
          <p:nvPr/>
        </p:nvSpPr>
        <p:spPr>
          <a:xfrm>
            <a:off x="276627" y="804652"/>
            <a:ext cx="11209978" cy="561211"/>
          </a:xfrm>
          <a:prstGeom prst="rect">
            <a:avLst/>
          </a:prstGeom>
          <a:noFill/>
        </p:spPr>
        <p:txBody>
          <a:bodyPr wrap="square" lIns="179285" tIns="143428" rIns="179285" bIns="143428" rtlCol="0">
            <a:spAutoFit/>
          </a:bodyPr>
          <a:lstStyle/>
          <a:p>
            <a:pPr>
              <a:lnSpc>
                <a:spcPct val="90000"/>
              </a:lnSpc>
              <a:spcAft>
                <a:spcPts val="588"/>
              </a:spcAft>
            </a:pPr>
            <a:r>
              <a:rPr lang="en-US" sz="1961" kern="0" dirty="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rPr>
              <a:t>Unify security management and enable advanced threat protection for hybrid cloud workloads</a:t>
            </a:r>
          </a:p>
        </p:txBody>
      </p:sp>
      <p:sp>
        <p:nvSpPr>
          <p:cNvPr id="63" name="Rectangle 62"/>
          <p:cNvSpPr/>
          <p:nvPr/>
        </p:nvSpPr>
        <p:spPr bwMode="auto">
          <a:xfrm>
            <a:off x="1" y="1870900"/>
            <a:ext cx="12189408" cy="498661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Rectangle 63"/>
          <p:cNvSpPr/>
          <p:nvPr/>
        </p:nvSpPr>
        <p:spPr bwMode="auto">
          <a:xfrm>
            <a:off x="0" y="4308485"/>
            <a:ext cx="4064000" cy="25490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4064000" y="4308485"/>
            <a:ext cx="4064000" cy="254902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8127999" y="4308485"/>
            <a:ext cx="4064000" cy="254902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p:cNvGrpSpPr/>
          <p:nvPr/>
        </p:nvGrpSpPr>
        <p:grpSpPr>
          <a:xfrm>
            <a:off x="1122556" y="2398011"/>
            <a:ext cx="1953766" cy="1318839"/>
            <a:chOff x="4845050" y="-3294063"/>
            <a:chExt cx="5065713" cy="3419476"/>
          </a:xfrm>
          <a:solidFill>
            <a:schemeClr val="accent1"/>
          </a:solidFill>
        </p:grpSpPr>
        <p:sp>
          <p:nvSpPr>
            <p:cNvPr id="69"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70"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72"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73"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74"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75" name="Group 74"/>
          <p:cNvGrpSpPr/>
          <p:nvPr/>
        </p:nvGrpSpPr>
        <p:grpSpPr>
          <a:xfrm>
            <a:off x="5562636" y="2545860"/>
            <a:ext cx="1183175" cy="1170990"/>
            <a:chOff x="7145338" y="-1084263"/>
            <a:chExt cx="1541462" cy="1525588"/>
          </a:xfrm>
          <a:solidFill>
            <a:schemeClr val="accent1">
              <a:lumMod val="75000"/>
            </a:schemeClr>
          </a:solidFill>
        </p:grpSpPr>
        <p:sp>
          <p:nvSpPr>
            <p:cNvPr id="76"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77"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78" name="Rectangle 77"/>
          <p:cNvSpPr/>
          <p:nvPr/>
        </p:nvSpPr>
        <p:spPr bwMode="auto">
          <a:xfrm>
            <a:off x="4378893" y="4627623"/>
            <a:ext cx="3585698" cy="891186"/>
          </a:xfrm>
          <a:prstGeom prst="rect">
            <a:avLst/>
          </a:prstGeom>
          <a:noFill/>
          <a:ln w="9525" cap="flat" cmpd="sng" algn="ctr">
            <a:noFill/>
            <a:prstDash val="solid"/>
            <a:headEnd type="none" w="med" len="med"/>
            <a:tailEnd type="none" w="med" len="med"/>
          </a:ln>
          <a:effectLst/>
        </p:spPr>
        <p:txBody>
          <a:bodyPr lIns="179234" tIns="143387" rIns="179234" bIns="143387" anchor="t"/>
          <a:lstStyle/>
          <a:p>
            <a:pPr marL="0" lvl="1" algn="ctr" defTabSz="913874">
              <a:lnSpc>
                <a:spcPct val="90000"/>
              </a:lnSpc>
              <a:spcBef>
                <a:spcPts val="588"/>
              </a:spcBef>
              <a:spcAft>
                <a:spcPts val="588"/>
              </a:spcAft>
              <a:buSzPct val="90000"/>
              <a:defRPr/>
            </a:pPr>
            <a: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Adaptive threat prevention</a:t>
            </a:r>
          </a:p>
        </p:txBody>
      </p:sp>
      <p:sp>
        <p:nvSpPr>
          <p:cNvPr id="79" name="Rectangle 78"/>
          <p:cNvSpPr/>
          <p:nvPr/>
        </p:nvSpPr>
        <p:spPr bwMode="auto">
          <a:xfrm>
            <a:off x="320599" y="4627623"/>
            <a:ext cx="3361593" cy="891186"/>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1" algn="ctr" defTabSz="913874">
              <a:lnSpc>
                <a:spcPct val="90000"/>
              </a:lnSpc>
              <a:spcBef>
                <a:spcPts val="588"/>
              </a:spcBef>
              <a:spcAft>
                <a:spcPts val="588"/>
              </a:spcAft>
              <a:buSzPct val="90000"/>
              <a:defRPr/>
            </a:pPr>
            <a: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Unified visibility </a:t>
            </a:r>
            <a:b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and control</a:t>
            </a:r>
          </a:p>
        </p:txBody>
      </p:sp>
      <p:sp>
        <p:nvSpPr>
          <p:cNvPr id="80" name="Rectangle 79"/>
          <p:cNvSpPr/>
          <p:nvPr/>
        </p:nvSpPr>
        <p:spPr bwMode="auto">
          <a:xfrm>
            <a:off x="8430440" y="4627623"/>
            <a:ext cx="3670174" cy="891186"/>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1" algn="ctr" defTabSz="913874">
              <a:lnSpc>
                <a:spcPct val="90000"/>
              </a:lnSpc>
              <a:spcBef>
                <a:spcPts val="588"/>
              </a:spcBef>
              <a:spcAft>
                <a:spcPts val="588"/>
              </a:spcAft>
              <a:buSzPct val="90000"/>
              <a:defRPr/>
            </a:pPr>
            <a: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Intelligent detection </a:t>
            </a:r>
            <a:b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2353" b="1" kern="0" dirty="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rPr>
              <a:t>and response</a:t>
            </a:r>
          </a:p>
        </p:txBody>
      </p:sp>
      <p:grpSp>
        <p:nvGrpSpPr>
          <p:cNvPr id="82" name="Group 81"/>
          <p:cNvGrpSpPr/>
          <p:nvPr/>
        </p:nvGrpSpPr>
        <p:grpSpPr>
          <a:xfrm>
            <a:off x="9497883" y="2418549"/>
            <a:ext cx="1370229" cy="1371488"/>
            <a:chOff x="9447213" y="631825"/>
            <a:chExt cx="1728787" cy="1730375"/>
          </a:xfrm>
          <a:solidFill>
            <a:schemeClr val="accent1">
              <a:lumMod val="50000"/>
            </a:schemeClr>
          </a:solidFill>
        </p:grpSpPr>
        <p:sp>
          <p:nvSpPr>
            <p:cNvPr id="83" name="Freeform 14"/>
            <p:cNvSpPr>
              <a:spLocks/>
            </p:cNvSpPr>
            <p:nvPr/>
          </p:nvSpPr>
          <p:spPr bwMode="auto">
            <a:xfrm>
              <a:off x="10271125" y="631825"/>
              <a:ext cx="790575" cy="776288"/>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4" name="Freeform 15"/>
            <p:cNvSpPr>
              <a:spLocks/>
            </p:cNvSpPr>
            <p:nvPr/>
          </p:nvSpPr>
          <p:spPr bwMode="auto">
            <a:xfrm>
              <a:off x="9561513" y="1590675"/>
              <a:ext cx="787400" cy="771525"/>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6" name="Freeform 16"/>
            <p:cNvSpPr>
              <a:spLocks/>
            </p:cNvSpPr>
            <p:nvPr/>
          </p:nvSpPr>
          <p:spPr bwMode="auto">
            <a:xfrm>
              <a:off x="10401300" y="1458913"/>
              <a:ext cx="774700" cy="7889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7" name="Freeform 17"/>
            <p:cNvSpPr>
              <a:spLocks/>
            </p:cNvSpPr>
            <p:nvPr/>
          </p:nvSpPr>
          <p:spPr bwMode="auto">
            <a:xfrm>
              <a:off x="9447213" y="746125"/>
              <a:ext cx="771525" cy="792163"/>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8" name="Freeform 18"/>
            <p:cNvSpPr>
              <a:spLocks noEditPoints="1"/>
            </p:cNvSpPr>
            <p:nvPr/>
          </p:nvSpPr>
          <p:spPr bwMode="auto">
            <a:xfrm>
              <a:off x="9880600" y="1012825"/>
              <a:ext cx="895350" cy="534988"/>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9" name="Freeform 19"/>
            <p:cNvSpPr>
              <a:spLocks noEditPoints="1"/>
            </p:cNvSpPr>
            <p:nvPr/>
          </p:nvSpPr>
          <p:spPr bwMode="auto">
            <a:xfrm>
              <a:off x="10063163" y="1504950"/>
              <a:ext cx="452437" cy="473075"/>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86925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750" fill="hold"/>
                                        <p:tgtEl>
                                          <p:spTgt spid="63"/>
                                        </p:tgtEl>
                                        <p:attrNameLst>
                                          <p:attrName>ppt_x</p:attrName>
                                        </p:attrNameLst>
                                      </p:cBhvr>
                                      <p:tavLst>
                                        <p:tav tm="0">
                                          <p:val>
                                            <p:strVal val="#ppt_x"/>
                                          </p:val>
                                        </p:tav>
                                        <p:tav tm="100000">
                                          <p:val>
                                            <p:strVal val="#ppt_x"/>
                                          </p:val>
                                        </p:tav>
                                      </p:tavLst>
                                    </p:anim>
                                    <p:anim calcmode="lin" valueType="num">
                                      <p:cBhvr additive="base">
                                        <p:cTn id="8" dur="750" fill="hold"/>
                                        <p:tgtEl>
                                          <p:spTgt spid="63"/>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additive="base">
                                        <p:cTn id="11" dur="750" fill="hold"/>
                                        <p:tgtEl>
                                          <p:spTgt spid="64"/>
                                        </p:tgtEl>
                                        <p:attrNameLst>
                                          <p:attrName>ppt_x</p:attrName>
                                        </p:attrNameLst>
                                      </p:cBhvr>
                                      <p:tavLst>
                                        <p:tav tm="0">
                                          <p:val>
                                            <p:strVal val="#ppt_x"/>
                                          </p:val>
                                        </p:tav>
                                        <p:tav tm="100000">
                                          <p:val>
                                            <p:strVal val="#ppt_x"/>
                                          </p:val>
                                        </p:tav>
                                      </p:tavLst>
                                    </p:anim>
                                    <p:anim calcmode="lin" valueType="num">
                                      <p:cBhvr additive="base">
                                        <p:cTn id="12" dur="750" fill="hold"/>
                                        <p:tgtEl>
                                          <p:spTgt spid="64"/>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8"/>
                                        </p:tgtEl>
                                        <p:attrNameLst>
                                          <p:attrName>style.visibility</p:attrName>
                                        </p:attrNameLst>
                                      </p:cBhvr>
                                      <p:to>
                                        <p:strVal val="visible"/>
                                      </p:to>
                                    </p:set>
                                    <p:animEffect transition="in" filter="fade">
                                      <p:cBhvr>
                                        <p:cTn id="16" dur="750"/>
                                        <p:tgtEl>
                                          <p:spTgt spid="6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750"/>
                                        <p:tgtEl>
                                          <p:spTgt spid="79"/>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decel="100000" fill="hold" grpId="0" nodeType="clickEffect">
                                  <p:stCondLst>
                                    <p:cond delay="0"/>
                                  </p:stCondLst>
                                  <p:childTnLst>
                                    <p:set>
                                      <p:cBhvr>
                                        <p:cTn id="23" dur="1" fill="hold">
                                          <p:stCondLst>
                                            <p:cond delay="0"/>
                                          </p:stCondLst>
                                        </p:cTn>
                                        <p:tgtEl>
                                          <p:spTgt spid="65"/>
                                        </p:tgtEl>
                                        <p:attrNameLst>
                                          <p:attrName>style.visibility</p:attrName>
                                        </p:attrNameLst>
                                      </p:cBhvr>
                                      <p:to>
                                        <p:strVal val="visible"/>
                                      </p:to>
                                    </p:set>
                                    <p:anim calcmode="lin" valueType="num">
                                      <p:cBhvr additive="base">
                                        <p:cTn id="24" dur="750" fill="hold"/>
                                        <p:tgtEl>
                                          <p:spTgt spid="65"/>
                                        </p:tgtEl>
                                        <p:attrNameLst>
                                          <p:attrName>ppt_x</p:attrName>
                                        </p:attrNameLst>
                                      </p:cBhvr>
                                      <p:tavLst>
                                        <p:tav tm="0">
                                          <p:val>
                                            <p:strVal val="#ppt_x"/>
                                          </p:val>
                                        </p:tav>
                                        <p:tav tm="100000">
                                          <p:val>
                                            <p:strVal val="#ppt_x"/>
                                          </p:val>
                                        </p:tav>
                                      </p:tavLst>
                                    </p:anim>
                                    <p:anim calcmode="lin" valueType="num">
                                      <p:cBhvr additive="base">
                                        <p:cTn id="25" dur="750" fill="hold"/>
                                        <p:tgtEl>
                                          <p:spTgt spid="65"/>
                                        </p:tgtEl>
                                        <p:attrNameLst>
                                          <p:attrName>ppt_y</p:attrName>
                                        </p:attrNameLst>
                                      </p:cBhvr>
                                      <p:tavLst>
                                        <p:tav tm="0">
                                          <p:val>
                                            <p:strVal val="1+#ppt_h/2"/>
                                          </p:val>
                                        </p:tav>
                                        <p:tav tm="100000">
                                          <p:val>
                                            <p:strVal val="#ppt_y"/>
                                          </p:val>
                                        </p:tav>
                                      </p:tavLst>
                                    </p:anim>
                                  </p:childTnLst>
                                </p:cTn>
                              </p:par>
                            </p:childTnLst>
                          </p:cTn>
                        </p:par>
                        <p:par>
                          <p:cTn id="26" fill="hold">
                            <p:stCondLst>
                              <p:cond delay="750"/>
                            </p:stCondLst>
                            <p:childTnLst>
                              <p:par>
                                <p:cTn id="27" presetID="10" presetClass="entr" presetSubtype="0" fill="hold" nodeType="afterEffect">
                                  <p:stCondLst>
                                    <p:cond delay="0"/>
                                  </p:stCondLst>
                                  <p:childTnLst>
                                    <p:set>
                                      <p:cBhvr>
                                        <p:cTn id="28" dur="1" fill="hold">
                                          <p:stCondLst>
                                            <p:cond delay="0"/>
                                          </p:stCondLst>
                                        </p:cTn>
                                        <p:tgtEl>
                                          <p:spTgt spid="75"/>
                                        </p:tgtEl>
                                        <p:attrNameLst>
                                          <p:attrName>style.visibility</p:attrName>
                                        </p:attrNameLst>
                                      </p:cBhvr>
                                      <p:to>
                                        <p:strVal val="visible"/>
                                      </p:to>
                                    </p:set>
                                    <p:animEffect transition="in" filter="fade">
                                      <p:cBhvr>
                                        <p:cTn id="29" dur="750"/>
                                        <p:tgtEl>
                                          <p:spTgt spid="7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8"/>
                                        </p:tgtEl>
                                        <p:attrNameLst>
                                          <p:attrName>style.visibility</p:attrName>
                                        </p:attrNameLst>
                                      </p:cBhvr>
                                      <p:to>
                                        <p:strVal val="visible"/>
                                      </p:to>
                                    </p:set>
                                    <p:animEffect transition="in" filter="fade">
                                      <p:cBhvr>
                                        <p:cTn id="32" dur="750"/>
                                        <p:tgtEl>
                                          <p:spTgt spid="78"/>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decel="100000" fill="hold" grpId="0" nodeType="clickEffect">
                                  <p:stCondLst>
                                    <p:cond delay="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750" fill="hold"/>
                                        <p:tgtEl>
                                          <p:spTgt spid="66"/>
                                        </p:tgtEl>
                                        <p:attrNameLst>
                                          <p:attrName>ppt_x</p:attrName>
                                        </p:attrNameLst>
                                      </p:cBhvr>
                                      <p:tavLst>
                                        <p:tav tm="0">
                                          <p:val>
                                            <p:strVal val="#ppt_x"/>
                                          </p:val>
                                        </p:tav>
                                        <p:tav tm="100000">
                                          <p:val>
                                            <p:strVal val="#ppt_x"/>
                                          </p:val>
                                        </p:tav>
                                      </p:tavLst>
                                    </p:anim>
                                    <p:anim calcmode="lin" valueType="num">
                                      <p:cBhvr additive="base">
                                        <p:cTn id="38" dur="750" fill="hold"/>
                                        <p:tgtEl>
                                          <p:spTgt spid="66"/>
                                        </p:tgtEl>
                                        <p:attrNameLst>
                                          <p:attrName>ppt_y</p:attrName>
                                        </p:attrNameLst>
                                      </p:cBhvr>
                                      <p:tavLst>
                                        <p:tav tm="0">
                                          <p:val>
                                            <p:strVal val="1+#ppt_h/2"/>
                                          </p:val>
                                        </p:tav>
                                        <p:tav tm="100000">
                                          <p:val>
                                            <p:strVal val="#ppt_y"/>
                                          </p:val>
                                        </p:tav>
                                      </p:tavLst>
                                    </p:anim>
                                  </p:childTnLst>
                                </p:cTn>
                              </p:par>
                            </p:childTnLst>
                          </p:cTn>
                        </p:par>
                        <p:par>
                          <p:cTn id="39" fill="hold">
                            <p:stCondLst>
                              <p:cond delay="750"/>
                            </p:stCondLst>
                            <p:childTnLst>
                              <p:par>
                                <p:cTn id="40" presetID="10" presetClass="entr" presetSubtype="0" fill="hold" grpId="0" nodeType="afterEffect">
                                  <p:stCondLst>
                                    <p:cond delay="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750"/>
                                        <p:tgtEl>
                                          <p:spTgt spid="80"/>
                                        </p:tgtEl>
                                      </p:cBhvr>
                                    </p:animEffect>
                                  </p:childTnLst>
                                </p:cTn>
                              </p:par>
                              <p:par>
                                <p:cTn id="43" presetID="10" presetClass="entr" presetSubtype="0" fill="hold" nodeType="withEffect">
                                  <p:stCondLst>
                                    <p:cond delay="0"/>
                                  </p:stCondLst>
                                  <p:childTnLst>
                                    <p:set>
                                      <p:cBhvr>
                                        <p:cTn id="44" dur="1" fill="hold">
                                          <p:stCondLst>
                                            <p:cond delay="0"/>
                                          </p:stCondLst>
                                        </p:cTn>
                                        <p:tgtEl>
                                          <p:spTgt spid="82"/>
                                        </p:tgtEl>
                                        <p:attrNameLst>
                                          <p:attrName>style.visibility</p:attrName>
                                        </p:attrNameLst>
                                      </p:cBhvr>
                                      <p:to>
                                        <p:strVal val="visible"/>
                                      </p:to>
                                    </p:set>
                                    <p:animEffect transition="in" filter="fade">
                                      <p:cBhvr>
                                        <p:cTn id="45" dur="75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65" grpId="0" animBg="1"/>
      <p:bldP spid="66" grpId="0" animBg="1"/>
      <p:bldP spid="78" grpId="0"/>
      <p:bldP spid="79" grpId="0"/>
      <p:bldP spid="8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0C65D312-58AE-4EE7-AEA4-5FC107C07D03}"/>
              </a:ext>
            </a:extLst>
          </p:cNvPr>
          <p:cNvSpPr/>
          <p:nvPr/>
        </p:nvSpPr>
        <p:spPr bwMode="auto">
          <a:xfrm>
            <a:off x="38145" y="1023567"/>
            <a:ext cx="12192000" cy="58339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itle 3">
            <a:extLst>
              <a:ext uri="{FF2B5EF4-FFF2-40B4-BE49-F238E27FC236}">
                <a16:creationId xmlns:a16="http://schemas.microsoft.com/office/drawing/2014/main" id="{3B07448D-2061-43B1-8F8C-528E3F8CFE2E}"/>
              </a:ext>
            </a:extLst>
          </p:cNvPr>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a:gradFill>
                  <a:gsLst>
                    <a:gs pos="1250">
                      <a:srgbClr val="353535"/>
                    </a:gs>
                    <a:gs pos="100000">
                      <a:srgbClr val="353535"/>
                    </a:gs>
                  </a:gsLst>
                  <a:lin ang="5400000" scaled="0"/>
                </a:gradFill>
                <a:latin typeface="Segoe UI Light"/>
              </a:rPr>
              <a:t>Architecture</a:t>
            </a:r>
          </a:p>
        </p:txBody>
      </p:sp>
      <p:sp>
        <p:nvSpPr>
          <p:cNvPr id="208" name="Arrow: Pentagon 207">
            <a:extLst>
              <a:ext uri="{FF2B5EF4-FFF2-40B4-BE49-F238E27FC236}">
                <a16:creationId xmlns:a16="http://schemas.microsoft.com/office/drawing/2014/main" id="{1DB74E03-3F68-482A-B5F4-3A732194C1DF}"/>
              </a:ext>
            </a:extLst>
          </p:cNvPr>
          <p:cNvSpPr/>
          <p:nvPr/>
        </p:nvSpPr>
        <p:spPr bwMode="auto">
          <a:xfrm>
            <a:off x="3288363" y="3271291"/>
            <a:ext cx="2060832" cy="813225"/>
          </a:xfrm>
          <a:prstGeom prst="homePlate">
            <a:avLst/>
          </a:prstGeom>
          <a:noFill/>
          <a:ln w="381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80AE610D-AD50-46A9-B801-EFB842874A58}"/>
              </a:ext>
            </a:extLst>
          </p:cNvPr>
          <p:cNvGrpSpPr/>
          <p:nvPr/>
        </p:nvGrpSpPr>
        <p:grpSpPr>
          <a:xfrm>
            <a:off x="8108307" y="2139394"/>
            <a:ext cx="3857479" cy="4503179"/>
            <a:chOff x="8270895" y="2181796"/>
            <a:chExt cx="3934830" cy="4593477"/>
          </a:xfrm>
        </p:grpSpPr>
        <p:cxnSp>
          <p:nvCxnSpPr>
            <p:cNvPr id="226" name="Straight Connector 225">
              <a:extLst>
                <a:ext uri="{FF2B5EF4-FFF2-40B4-BE49-F238E27FC236}">
                  <a16:creationId xmlns:a16="http://schemas.microsoft.com/office/drawing/2014/main" id="{2EA52E85-6E62-42B7-8302-B56C746A30B9}"/>
                </a:ext>
              </a:extLst>
            </p:cNvPr>
            <p:cNvCxnSpPr>
              <a:cxnSpLocks/>
            </p:cNvCxnSpPr>
            <p:nvPr/>
          </p:nvCxnSpPr>
          <p:spPr>
            <a:xfrm>
              <a:off x="9635763" y="5205178"/>
              <a:ext cx="0" cy="340442"/>
            </a:xfrm>
            <a:prstGeom prst="line">
              <a:avLst/>
            </a:prstGeom>
            <a:noFill/>
            <a:ln w="38100" cap="flat" cmpd="sng" algn="ctr">
              <a:solidFill>
                <a:srgbClr val="737373"/>
              </a:solidFill>
              <a:prstDash val="solid"/>
              <a:headEnd type="none" w="med" len="med"/>
              <a:tailEnd type="triangle" w="med" len="sm"/>
            </a:ln>
            <a:effectLst/>
          </p:spPr>
        </p:cxnSp>
        <p:cxnSp>
          <p:nvCxnSpPr>
            <p:cNvPr id="227" name="Straight Connector 226">
              <a:extLst>
                <a:ext uri="{FF2B5EF4-FFF2-40B4-BE49-F238E27FC236}">
                  <a16:creationId xmlns:a16="http://schemas.microsoft.com/office/drawing/2014/main" id="{8AFF45FC-6992-4226-BECE-913D3C34DCDC}"/>
                </a:ext>
              </a:extLst>
            </p:cNvPr>
            <p:cNvCxnSpPr>
              <a:cxnSpLocks/>
            </p:cNvCxnSpPr>
            <p:nvPr/>
          </p:nvCxnSpPr>
          <p:spPr>
            <a:xfrm>
              <a:off x="10637837" y="5214220"/>
              <a:ext cx="0" cy="340442"/>
            </a:xfrm>
            <a:prstGeom prst="line">
              <a:avLst/>
            </a:prstGeom>
            <a:noFill/>
            <a:ln w="38100" cap="flat" cmpd="sng" algn="ctr">
              <a:solidFill>
                <a:srgbClr val="737373"/>
              </a:solidFill>
              <a:prstDash val="solid"/>
              <a:headEnd type="none" w="med" len="med"/>
              <a:tailEnd type="triangle" w="med" len="sm"/>
            </a:ln>
            <a:effectLst/>
          </p:spPr>
        </p:cxnSp>
        <p:cxnSp>
          <p:nvCxnSpPr>
            <p:cNvPr id="228" name="Straight Connector 227">
              <a:extLst>
                <a:ext uri="{FF2B5EF4-FFF2-40B4-BE49-F238E27FC236}">
                  <a16:creationId xmlns:a16="http://schemas.microsoft.com/office/drawing/2014/main" id="{887E20EB-B9B3-44F8-8E62-90FFEDFE7DC2}"/>
                </a:ext>
              </a:extLst>
            </p:cNvPr>
            <p:cNvCxnSpPr>
              <a:cxnSpLocks/>
            </p:cNvCxnSpPr>
            <p:nvPr/>
          </p:nvCxnSpPr>
          <p:spPr>
            <a:xfrm>
              <a:off x="11704637" y="5209913"/>
              <a:ext cx="0" cy="340442"/>
            </a:xfrm>
            <a:prstGeom prst="line">
              <a:avLst/>
            </a:prstGeom>
            <a:noFill/>
            <a:ln w="38100" cap="flat" cmpd="sng" algn="ctr">
              <a:solidFill>
                <a:srgbClr val="737373"/>
              </a:solidFill>
              <a:prstDash val="solid"/>
              <a:headEnd type="none" w="med" len="med"/>
              <a:tailEnd type="triangle" w="med" len="sm"/>
            </a:ln>
            <a:effectLst/>
          </p:spPr>
        </p:cxnSp>
        <p:cxnSp>
          <p:nvCxnSpPr>
            <p:cNvPr id="215" name="Straight Connector 214">
              <a:extLst>
                <a:ext uri="{FF2B5EF4-FFF2-40B4-BE49-F238E27FC236}">
                  <a16:creationId xmlns:a16="http://schemas.microsoft.com/office/drawing/2014/main" id="{04526CE9-C390-48DD-842F-AFD7BE6B552B}"/>
                </a:ext>
              </a:extLst>
            </p:cNvPr>
            <p:cNvCxnSpPr>
              <a:cxnSpLocks/>
            </p:cNvCxnSpPr>
            <p:nvPr/>
          </p:nvCxnSpPr>
          <p:spPr>
            <a:xfrm>
              <a:off x="8270895" y="3734916"/>
              <a:ext cx="839610" cy="13036"/>
            </a:xfrm>
            <a:prstGeom prst="line">
              <a:avLst/>
            </a:prstGeom>
            <a:noFill/>
            <a:ln w="38100" cap="flat" cmpd="sng" algn="ctr">
              <a:solidFill>
                <a:srgbClr val="E6E6E6">
                  <a:lumMod val="50000"/>
                </a:srgbClr>
              </a:solidFill>
              <a:prstDash val="solid"/>
              <a:headEnd type="none" w="med" len="med"/>
              <a:tailEnd type="triangle" w="med" len="sm"/>
            </a:ln>
            <a:effectLst/>
          </p:spPr>
        </p:cxnSp>
        <p:sp>
          <p:nvSpPr>
            <p:cNvPr id="216" name="TextBox 215">
              <a:extLst>
                <a:ext uri="{FF2B5EF4-FFF2-40B4-BE49-F238E27FC236}">
                  <a16:creationId xmlns:a16="http://schemas.microsoft.com/office/drawing/2014/main" id="{04FFEA7E-AEC0-40D6-8DED-006BC67F142B}"/>
                </a:ext>
              </a:extLst>
            </p:cNvPr>
            <p:cNvSpPr txBox="1"/>
            <p:nvPr/>
          </p:nvSpPr>
          <p:spPr>
            <a:xfrm>
              <a:off x="11231447" y="5563703"/>
              <a:ext cx="874822" cy="1015595"/>
            </a:xfrm>
            <a:prstGeom prst="rect">
              <a:avLst/>
            </a:prstGeom>
            <a:noFill/>
            <a:ln w="38100" cap="flat" cmpd="sng" algn="ctr">
              <a:solidFill>
                <a:schemeClr val="accent1"/>
              </a:solid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defTabSz="896386">
                <a:defRPr/>
              </a:pPr>
              <a:endParaRPr lang="en-US" sz="1372" kern="0" cap="all">
                <a:solidFill>
                  <a:srgbClr val="353535">
                    <a:lumMod val="85000"/>
                    <a:lumOff val="15000"/>
                  </a:srgbClr>
                </a:solidFill>
                <a:latin typeface="Segoe UI Semilight"/>
              </a:endParaRPr>
            </a:p>
          </p:txBody>
        </p:sp>
        <p:sp>
          <p:nvSpPr>
            <p:cNvPr id="217" name="TextBox 216">
              <a:extLst>
                <a:ext uri="{FF2B5EF4-FFF2-40B4-BE49-F238E27FC236}">
                  <a16:creationId xmlns:a16="http://schemas.microsoft.com/office/drawing/2014/main" id="{978FA12F-BD0A-42AE-8AB7-1EC349979462}"/>
                </a:ext>
              </a:extLst>
            </p:cNvPr>
            <p:cNvSpPr txBox="1"/>
            <p:nvPr/>
          </p:nvSpPr>
          <p:spPr>
            <a:xfrm>
              <a:off x="10234803" y="2664401"/>
              <a:ext cx="1871466" cy="769441"/>
            </a:xfrm>
            <a:prstGeom prst="rect">
              <a:avLst/>
            </a:prstGeom>
            <a:noFill/>
          </p:spPr>
          <p:txBody>
            <a:bodyPr wrap="square" rtlCol="0">
              <a:spAutoFit/>
            </a:bodyPr>
            <a:lstStyle/>
            <a:p>
              <a:pPr defTabSz="896386">
                <a:defRPr/>
              </a:pPr>
              <a:r>
                <a:rPr lang="en-US" sz="1078" kern="0">
                  <a:solidFill>
                    <a:srgbClr val="353535">
                      <a:lumMod val="85000"/>
                      <a:lumOff val="15000"/>
                    </a:srgbClr>
                  </a:solidFill>
                </a:rPr>
                <a:t>Security Dashboards</a:t>
              </a:r>
              <a:br>
                <a:rPr lang="en-US" sz="1078" kern="0">
                  <a:solidFill>
                    <a:srgbClr val="353535">
                      <a:lumMod val="85000"/>
                      <a:lumOff val="15000"/>
                    </a:srgbClr>
                  </a:solidFill>
                </a:rPr>
              </a:br>
              <a:r>
                <a:rPr lang="en-US" sz="1078" kern="0">
                  <a:solidFill>
                    <a:srgbClr val="353535">
                      <a:lumMod val="85000"/>
                      <a:lumOff val="15000"/>
                    </a:srgbClr>
                  </a:solidFill>
                </a:rPr>
                <a:t>Deliver Rapid Insights into Security State Across All Workloads</a:t>
              </a:r>
            </a:p>
          </p:txBody>
        </p:sp>
        <p:sp>
          <p:nvSpPr>
            <p:cNvPr id="218" name="Rectangle 217">
              <a:extLst>
                <a:ext uri="{FF2B5EF4-FFF2-40B4-BE49-F238E27FC236}">
                  <a16:creationId xmlns:a16="http://schemas.microsoft.com/office/drawing/2014/main" id="{988B329C-261E-4B32-AEE5-CCFFC48D398B}"/>
                </a:ext>
              </a:extLst>
            </p:cNvPr>
            <p:cNvSpPr/>
            <p:nvPr/>
          </p:nvSpPr>
          <p:spPr>
            <a:xfrm>
              <a:off x="9183427" y="2181796"/>
              <a:ext cx="2899772" cy="3023382"/>
            </a:xfrm>
            <a:prstGeom prst="rect">
              <a:avLst/>
            </a:prstGeom>
            <a:solidFill>
              <a:schemeClr val="accent1"/>
            </a:solidFill>
            <a:ln w="57150" cap="flat" cmpd="sng" algn="ctr">
              <a:noFill/>
              <a:prstDash val="solid"/>
            </a:ln>
            <a:effectLst/>
          </p:spPr>
          <p:txBody>
            <a:bodyPr rtlCol="0" anchor="ctr"/>
            <a:lstStyle/>
            <a:p>
              <a:pPr algn="ctr" defTabSz="913698">
                <a:defRPr/>
              </a:pPr>
              <a:endParaRPr lang="en-US" kern="0">
                <a:solidFill>
                  <a:prstClr val="white"/>
                </a:solidFill>
                <a:latin typeface="Segoe UI"/>
              </a:endParaRPr>
            </a:p>
          </p:txBody>
        </p:sp>
        <p:sp>
          <p:nvSpPr>
            <p:cNvPr id="219" name="TextBox 218">
              <a:extLst>
                <a:ext uri="{FF2B5EF4-FFF2-40B4-BE49-F238E27FC236}">
                  <a16:creationId xmlns:a16="http://schemas.microsoft.com/office/drawing/2014/main" id="{EE032D3F-D277-4E8E-8449-86310F6D2FDC}"/>
                </a:ext>
              </a:extLst>
            </p:cNvPr>
            <p:cNvSpPr txBox="1"/>
            <p:nvPr/>
          </p:nvSpPr>
          <p:spPr>
            <a:xfrm>
              <a:off x="9174859" y="6329194"/>
              <a:ext cx="878060" cy="261610"/>
            </a:xfrm>
            <a:prstGeom prst="rect">
              <a:avLst/>
            </a:prstGeom>
            <a:noFill/>
          </p:spPr>
          <p:txBody>
            <a:bodyPr wrap="square" rtlCol="0">
              <a:spAutoFit/>
            </a:bodyPr>
            <a:lstStyle/>
            <a:p>
              <a:pPr algn="ctr" defTabSz="896386">
                <a:defRPr/>
              </a:pPr>
              <a:r>
                <a:rPr lang="en-US" sz="1078" kern="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REST APIs</a:t>
              </a:r>
            </a:p>
          </p:txBody>
        </p:sp>
        <p:sp>
          <p:nvSpPr>
            <p:cNvPr id="220" name="TextBox 219">
              <a:extLst>
                <a:ext uri="{FF2B5EF4-FFF2-40B4-BE49-F238E27FC236}">
                  <a16:creationId xmlns:a16="http://schemas.microsoft.com/office/drawing/2014/main" id="{AB04BF0C-2A75-4A6C-BF88-9C0AB1129265}"/>
                </a:ext>
              </a:extLst>
            </p:cNvPr>
            <p:cNvSpPr txBox="1"/>
            <p:nvPr/>
          </p:nvSpPr>
          <p:spPr>
            <a:xfrm>
              <a:off x="11186622" y="6316662"/>
              <a:ext cx="1019103" cy="261610"/>
            </a:xfrm>
            <a:prstGeom prst="rect">
              <a:avLst/>
            </a:prstGeom>
            <a:noFill/>
          </p:spPr>
          <p:txBody>
            <a:bodyPr wrap="square" rtlCol="0">
              <a:spAutoFit/>
            </a:bodyPr>
            <a:lstStyle/>
            <a:p>
              <a:pPr defTabSz="896386">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Notifications</a:t>
              </a:r>
            </a:p>
          </p:txBody>
        </p:sp>
        <p:sp>
          <p:nvSpPr>
            <p:cNvPr id="221" name="TextBox 220">
              <a:extLst>
                <a:ext uri="{FF2B5EF4-FFF2-40B4-BE49-F238E27FC236}">
                  <a16:creationId xmlns:a16="http://schemas.microsoft.com/office/drawing/2014/main" id="{517C2427-0158-4118-B995-96DFD826849D}"/>
                </a:ext>
              </a:extLst>
            </p:cNvPr>
            <p:cNvSpPr txBox="1"/>
            <p:nvPr/>
          </p:nvSpPr>
          <p:spPr>
            <a:xfrm>
              <a:off x="10185449" y="6342679"/>
              <a:ext cx="918382" cy="432594"/>
            </a:xfrm>
            <a:prstGeom prst="rect">
              <a:avLst/>
            </a:prstGeom>
            <a:noFill/>
          </p:spPr>
          <p:txBody>
            <a:bodyPr wrap="square" rtlCol="0">
              <a:spAutoFit/>
            </a:bodyPr>
            <a:lstStyle/>
            <a:p>
              <a:pPr algn="ctr" defTabSz="896386">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utomation</a:t>
              </a:r>
            </a:p>
          </p:txBody>
        </p:sp>
        <p:sp>
          <p:nvSpPr>
            <p:cNvPr id="225" name="TextBox 224">
              <a:extLst>
                <a:ext uri="{FF2B5EF4-FFF2-40B4-BE49-F238E27FC236}">
                  <a16:creationId xmlns:a16="http://schemas.microsoft.com/office/drawing/2014/main" id="{B088082D-B6F5-416A-B503-306D60B6CBC3}"/>
                </a:ext>
              </a:extLst>
            </p:cNvPr>
            <p:cNvSpPr txBox="1"/>
            <p:nvPr/>
          </p:nvSpPr>
          <p:spPr>
            <a:xfrm>
              <a:off x="10196534" y="5588146"/>
              <a:ext cx="891298" cy="1020319"/>
            </a:xfrm>
            <a:prstGeom prst="rect">
              <a:avLst/>
            </a:prstGeom>
            <a:noFill/>
            <a:ln w="38100" cap="flat" cmpd="sng" algn="ctr">
              <a:solidFill>
                <a:schemeClr val="accent1"/>
              </a:solid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defTabSz="896386">
                <a:defRPr/>
              </a:pPr>
              <a:endParaRPr lang="en-US" sz="1176" kern="0" cap="all" dirty="0">
                <a:solidFill>
                  <a:srgbClr val="353535">
                    <a:lumMod val="85000"/>
                    <a:lumOff val="15000"/>
                  </a:srgbClr>
                </a:solidFill>
                <a:latin typeface="Segoe UI Semilight"/>
              </a:endParaRPr>
            </a:p>
          </p:txBody>
        </p:sp>
        <p:sp>
          <p:nvSpPr>
            <p:cNvPr id="222" name="TextBox 221">
              <a:extLst>
                <a:ext uri="{FF2B5EF4-FFF2-40B4-BE49-F238E27FC236}">
                  <a16:creationId xmlns:a16="http://schemas.microsoft.com/office/drawing/2014/main" id="{E0D51060-13C2-4316-B7B5-8A418806016A}"/>
                </a:ext>
              </a:extLst>
            </p:cNvPr>
            <p:cNvSpPr txBox="1"/>
            <p:nvPr/>
          </p:nvSpPr>
          <p:spPr>
            <a:xfrm>
              <a:off x="9259628" y="2255758"/>
              <a:ext cx="2823570" cy="523220"/>
            </a:xfrm>
            <a:prstGeom prst="rect">
              <a:avLst/>
            </a:prstGeom>
            <a:noFill/>
          </p:spPr>
          <p:txBody>
            <a:bodyPr wrap="square" rtlCol="0">
              <a:spAutoFit/>
            </a:bodyPr>
            <a:lstStyle/>
            <a:p>
              <a:pPr algn="ctr" defTabSz="1117679" fontAlgn="base">
                <a:spcAft>
                  <a:spcPct val="0"/>
                </a:spcAft>
                <a:defRPr/>
              </a:pPr>
              <a:r>
                <a:rPr lang="en-US" sz="1372" b="1" kern="0">
                  <a:ln>
                    <a:solidFill>
                      <a:srgbClr val="FFFFFF">
                        <a:alpha val="0"/>
                      </a:srgbClr>
                    </a:solidFill>
                  </a:ln>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ZURE SECURITY CENTER</a:t>
              </a:r>
              <a:br>
                <a:rPr lang="en-US" sz="1372" b="1" kern="0">
                  <a:ln>
                    <a:solidFill>
                      <a:srgbClr val="FFFFFF">
                        <a:alpha val="0"/>
                      </a:srgbClr>
                    </a:solidFill>
                  </a:ln>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endParaRPr lang="en-US" sz="1372" b="1" kern="0">
                <a:ln>
                  <a:solidFill>
                    <a:srgbClr val="FFFFFF">
                      <a:alpha val="0"/>
                    </a:srgbClr>
                  </a:solidFill>
                </a:ln>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23" name="Straight Connector 222">
              <a:extLst>
                <a:ext uri="{FF2B5EF4-FFF2-40B4-BE49-F238E27FC236}">
                  <a16:creationId xmlns:a16="http://schemas.microsoft.com/office/drawing/2014/main" id="{7711A602-0FB8-4406-B402-E7D26A01976D}"/>
                </a:ext>
              </a:extLst>
            </p:cNvPr>
            <p:cNvCxnSpPr>
              <a:cxnSpLocks/>
            </p:cNvCxnSpPr>
            <p:nvPr/>
          </p:nvCxnSpPr>
          <p:spPr>
            <a:xfrm>
              <a:off x="8295761" y="2320606"/>
              <a:ext cx="814744" cy="8306"/>
            </a:xfrm>
            <a:prstGeom prst="line">
              <a:avLst/>
            </a:prstGeom>
            <a:noFill/>
            <a:ln w="38100" cap="flat" cmpd="sng" algn="ctr">
              <a:solidFill>
                <a:srgbClr val="E6E6E6">
                  <a:lumMod val="50000"/>
                </a:srgbClr>
              </a:solidFill>
              <a:prstDash val="solid"/>
              <a:headEnd type="none" w="med" len="med"/>
              <a:tailEnd type="triangle" w="med" len="sm"/>
            </a:ln>
            <a:effectLst/>
          </p:spPr>
        </p:cxnSp>
        <p:sp>
          <p:nvSpPr>
            <p:cNvPr id="224" name="TextBox 223">
              <a:extLst>
                <a:ext uri="{FF2B5EF4-FFF2-40B4-BE49-F238E27FC236}">
                  <a16:creationId xmlns:a16="http://schemas.microsoft.com/office/drawing/2014/main" id="{1A939B74-D2A8-40F3-BFBA-23C867D5D19A}"/>
                </a:ext>
              </a:extLst>
            </p:cNvPr>
            <p:cNvSpPr txBox="1"/>
            <p:nvPr/>
          </p:nvSpPr>
          <p:spPr>
            <a:xfrm>
              <a:off x="9161621" y="5563703"/>
              <a:ext cx="891298" cy="1020318"/>
            </a:xfrm>
            <a:prstGeom prst="rect">
              <a:avLst/>
            </a:prstGeom>
            <a:noFill/>
            <a:ln w="38100" cap="flat" cmpd="sng" algn="ctr">
              <a:solidFill>
                <a:schemeClr val="accent1"/>
              </a:solid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defTabSz="896386">
                <a:defRPr/>
              </a:pPr>
              <a:endParaRPr lang="en-US" sz="1372" kern="0" cap="all">
                <a:solidFill>
                  <a:srgbClr val="353535">
                    <a:lumMod val="85000"/>
                    <a:lumOff val="15000"/>
                  </a:srgbClr>
                </a:solidFill>
                <a:latin typeface="Segoe UI Semilight"/>
              </a:endParaRPr>
            </a:p>
          </p:txBody>
        </p:sp>
        <p:sp>
          <p:nvSpPr>
            <p:cNvPr id="229" name="TextBox 228">
              <a:extLst>
                <a:ext uri="{FF2B5EF4-FFF2-40B4-BE49-F238E27FC236}">
                  <a16:creationId xmlns:a16="http://schemas.microsoft.com/office/drawing/2014/main" id="{8076208B-0EEB-464B-A185-28A6A4094C2A}"/>
                </a:ext>
              </a:extLst>
            </p:cNvPr>
            <p:cNvSpPr txBox="1"/>
            <p:nvPr/>
          </p:nvSpPr>
          <p:spPr>
            <a:xfrm>
              <a:off x="9931828" y="3483400"/>
              <a:ext cx="1670799" cy="415498"/>
            </a:xfrm>
            <a:prstGeom prst="rect">
              <a:avLst/>
            </a:prstGeom>
            <a:noFill/>
          </p:spPr>
          <p:txBody>
            <a:bodyPr wrap="square" rtlCol="0">
              <a:spAutoFit/>
            </a:bodyPr>
            <a:lstStyle/>
            <a:p>
              <a:pPr defTabSz="896386">
                <a:defRPr/>
              </a:pPr>
              <a: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ctionable Security Recommendations</a:t>
              </a:r>
            </a:p>
          </p:txBody>
        </p:sp>
        <p:sp>
          <p:nvSpPr>
            <p:cNvPr id="230" name="TextBox 229">
              <a:extLst>
                <a:ext uri="{FF2B5EF4-FFF2-40B4-BE49-F238E27FC236}">
                  <a16:creationId xmlns:a16="http://schemas.microsoft.com/office/drawing/2014/main" id="{403DAA0F-B5AF-42F8-947B-80766CF7864D}"/>
                </a:ext>
              </a:extLst>
            </p:cNvPr>
            <p:cNvSpPr txBox="1"/>
            <p:nvPr/>
          </p:nvSpPr>
          <p:spPr>
            <a:xfrm>
              <a:off x="9931828" y="4652795"/>
              <a:ext cx="1535429" cy="415498"/>
            </a:xfrm>
            <a:prstGeom prst="rect">
              <a:avLst/>
            </a:prstGeom>
            <a:noFill/>
          </p:spPr>
          <p:txBody>
            <a:bodyPr wrap="square" rtlCol="0">
              <a:spAutoFit/>
            </a:bodyPr>
            <a:lstStyle/>
            <a:p>
              <a:pPr defTabSz="896386">
                <a:defRPr/>
              </a:pPr>
              <a: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vestigation Tools</a:t>
              </a:r>
              <a:b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nd Log Search</a:t>
              </a:r>
            </a:p>
          </p:txBody>
        </p:sp>
        <p:sp>
          <p:nvSpPr>
            <p:cNvPr id="231" name="TextBox 230">
              <a:extLst>
                <a:ext uri="{FF2B5EF4-FFF2-40B4-BE49-F238E27FC236}">
                  <a16:creationId xmlns:a16="http://schemas.microsoft.com/office/drawing/2014/main" id="{3BF0401F-E59B-42FC-9D76-13A49AFB9A0C}"/>
                </a:ext>
              </a:extLst>
            </p:cNvPr>
            <p:cNvSpPr txBox="1"/>
            <p:nvPr/>
          </p:nvSpPr>
          <p:spPr>
            <a:xfrm>
              <a:off x="9931828" y="4068098"/>
              <a:ext cx="1670799" cy="415498"/>
            </a:xfrm>
            <a:prstGeom prst="rect">
              <a:avLst/>
            </a:prstGeom>
            <a:noFill/>
          </p:spPr>
          <p:txBody>
            <a:bodyPr wrap="square" rtlCol="0">
              <a:spAutoFit/>
            </a:bodyPr>
            <a:lstStyle/>
            <a:p>
              <a:pPr defTabSz="896386">
                <a:defRPr/>
              </a:pPr>
              <a: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Curated, Prioritized Security Alerts</a:t>
              </a:r>
            </a:p>
          </p:txBody>
        </p:sp>
        <p:sp>
          <p:nvSpPr>
            <p:cNvPr id="232" name="TextBox 231">
              <a:extLst>
                <a:ext uri="{FF2B5EF4-FFF2-40B4-BE49-F238E27FC236}">
                  <a16:creationId xmlns:a16="http://schemas.microsoft.com/office/drawing/2014/main" id="{07DFF9A5-A432-45EF-90C0-FF17A6A5E623}"/>
                </a:ext>
              </a:extLst>
            </p:cNvPr>
            <p:cNvSpPr txBox="1"/>
            <p:nvPr/>
          </p:nvSpPr>
          <p:spPr>
            <a:xfrm>
              <a:off x="9931828" y="2737119"/>
              <a:ext cx="2134711" cy="577081"/>
            </a:xfrm>
            <a:prstGeom prst="rect">
              <a:avLst/>
            </a:prstGeom>
            <a:noFill/>
          </p:spPr>
          <p:txBody>
            <a:bodyPr wrap="square" rtlCol="0">
              <a:spAutoFit/>
            </a:bodyPr>
            <a:lstStyle/>
            <a:p>
              <a:pPr defTabSz="896386">
                <a:defRPr/>
              </a:pPr>
              <a: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Security Dashboards Deliver Rapid Insights into Security </a:t>
              </a:r>
              <a:b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029"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State Across All Workloads</a:t>
              </a:r>
            </a:p>
          </p:txBody>
        </p:sp>
        <p:sp>
          <p:nvSpPr>
            <p:cNvPr id="233" name="Shape 2836">
              <a:extLst>
                <a:ext uri="{FF2B5EF4-FFF2-40B4-BE49-F238E27FC236}">
                  <a16:creationId xmlns:a16="http://schemas.microsoft.com/office/drawing/2014/main" id="{1DA1C081-DB5A-4A44-BBA6-842B13ECF7FA}"/>
                </a:ext>
              </a:extLst>
            </p:cNvPr>
            <p:cNvSpPr/>
            <p:nvPr/>
          </p:nvSpPr>
          <p:spPr>
            <a:xfrm>
              <a:off x="11467257" y="5804119"/>
              <a:ext cx="416834" cy="303152"/>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rgbClr val="D83B01"/>
            </a:solidFill>
            <a:ln w="12700">
              <a:miter lim="400000"/>
            </a:ln>
          </p:spPr>
          <p:txBody>
            <a:bodyPr lIns="19040" tIns="19040" rIns="19040" bIns="19040" anchor="ctr"/>
            <a:lstStyle/>
            <a:p>
              <a:pPr defTabSz="22848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499"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nvGrpSpPr>
            <p:cNvPr id="234" name="Group 233">
              <a:extLst>
                <a:ext uri="{FF2B5EF4-FFF2-40B4-BE49-F238E27FC236}">
                  <a16:creationId xmlns:a16="http://schemas.microsoft.com/office/drawing/2014/main" id="{AC52DDFE-47CF-4DAD-B09D-FC5084659438}"/>
                </a:ext>
              </a:extLst>
            </p:cNvPr>
            <p:cNvGrpSpPr/>
            <p:nvPr/>
          </p:nvGrpSpPr>
          <p:grpSpPr>
            <a:xfrm>
              <a:off x="9348001" y="5782379"/>
              <a:ext cx="469024" cy="420011"/>
              <a:chOff x="9330613" y="5716972"/>
              <a:chExt cx="585449" cy="524269"/>
            </a:xfrm>
          </p:grpSpPr>
          <p:sp>
            <p:nvSpPr>
              <p:cNvPr id="236" name="TextBox 235">
                <a:extLst>
                  <a:ext uri="{FF2B5EF4-FFF2-40B4-BE49-F238E27FC236}">
                    <a16:creationId xmlns:a16="http://schemas.microsoft.com/office/drawing/2014/main" id="{E224AF95-3D48-4F6F-80B6-E799E95F60A0}"/>
                  </a:ext>
                </a:extLst>
              </p:cNvPr>
              <p:cNvSpPr txBox="1"/>
              <p:nvPr/>
            </p:nvSpPr>
            <p:spPr>
              <a:xfrm>
                <a:off x="9406053" y="5740648"/>
                <a:ext cx="484386" cy="268923"/>
              </a:xfrm>
              <a:prstGeom prst="rect">
                <a:avLst/>
              </a:prstGeom>
              <a:noFill/>
            </p:spPr>
            <p:txBody>
              <a:bodyPr wrap="square" rtlCol="0">
                <a:spAutoFit/>
              </a:bodyPr>
              <a:lstStyle/>
              <a:p>
                <a:pPr defTabSz="896386">
                  <a:defRPr/>
                </a:pPr>
                <a:r>
                  <a:rPr lang="en-US" sz="784" b="1" kern="0" dirty="0">
                    <a:solidFill>
                      <a:srgbClr val="D83B01"/>
                    </a:solidFill>
                    <a:latin typeface="Arial Black" panose="020B0A04020102020204" pitchFamily="34" charset="0"/>
                  </a:rPr>
                  <a:t>API</a:t>
                </a:r>
              </a:p>
            </p:txBody>
          </p:sp>
          <p:sp>
            <p:nvSpPr>
              <p:cNvPr id="237" name="Rectangle: Rounded Corners 236">
                <a:extLst>
                  <a:ext uri="{FF2B5EF4-FFF2-40B4-BE49-F238E27FC236}">
                    <a16:creationId xmlns:a16="http://schemas.microsoft.com/office/drawing/2014/main" id="{BA87F02D-79D9-4645-9EEC-99FE21DEE554}"/>
                  </a:ext>
                </a:extLst>
              </p:cNvPr>
              <p:cNvSpPr/>
              <p:nvPr/>
            </p:nvSpPr>
            <p:spPr bwMode="auto">
              <a:xfrm>
                <a:off x="9330613" y="5716972"/>
                <a:ext cx="585449" cy="390299"/>
              </a:xfrm>
              <a:prstGeom prst="roundRect">
                <a:avLst/>
              </a:prstGeom>
              <a:no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38" name="Picture 237">
                <a:extLst>
                  <a:ext uri="{FF2B5EF4-FFF2-40B4-BE49-F238E27FC236}">
                    <a16:creationId xmlns:a16="http://schemas.microsoft.com/office/drawing/2014/main" id="{05D7BDAF-5F23-40DD-897E-53D3BEB5DD71}"/>
                  </a:ext>
                </a:extLst>
              </p:cNvPr>
              <p:cNvPicPr>
                <a:picLocks noChangeAspect="1"/>
              </p:cNvPicPr>
              <p:nvPr/>
            </p:nvPicPr>
            <p:blipFill>
              <a:blip r:embed="rId3">
                <a:duotone>
                  <a:schemeClr val="accent1">
                    <a:shade val="45000"/>
                    <a:satMod val="135000"/>
                  </a:schemeClr>
                  <a:prstClr val="white"/>
                </a:duotone>
              </a:blip>
              <a:stretch>
                <a:fillRect/>
              </a:stretch>
            </p:blipFill>
            <p:spPr>
              <a:xfrm>
                <a:off x="9597779" y="5954704"/>
                <a:ext cx="262151" cy="286537"/>
              </a:xfrm>
              <a:prstGeom prst="rect">
                <a:avLst/>
              </a:prstGeom>
            </p:spPr>
          </p:pic>
        </p:grpSp>
        <p:sp>
          <p:nvSpPr>
            <p:cNvPr id="235" name="Freeform 187">
              <a:extLst>
                <a:ext uri="{FF2B5EF4-FFF2-40B4-BE49-F238E27FC236}">
                  <a16:creationId xmlns:a16="http://schemas.microsoft.com/office/drawing/2014/main" id="{42E94A34-12B6-4F91-BCA8-62A1F7DACD32}"/>
                </a:ext>
              </a:extLst>
            </p:cNvPr>
            <p:cNvSpPr>
              <a:spLocks noEditPoints="1"/>
            </p:cNvSpPr>
            <p:nvPr/>
          </p:nvSpPr>
          <p:spPr bwMode="auto">
            <a:xfrm>
              <a:off x="10402573" y="5770225"/>
              <a:ext cx="461480" cy="368957"/>
            </a:xfrm>
            <a:custGeom>
              <a:avLst/>
              <a:gdLst>
                <a:gd name="T0" fmla="*/ 289 w 341"/>
                <a:gd name="T1" fmla="*/ 169 h 272"/>
                <a:gd name="T2" fmla="*/ 280 w 341"/>
                <a:gd name="T3" fmla="*/ 175 h 272"/>
                <a:gd name="T4" fmla="*/ 280 w 341"/>
                <a:gd name="T5" fmla="*/ 176 h 272"/>
                <a:gd name="T6" fmla="*/ 170 w 341"/>
                <a:gd name="T7" fmla="*/ 253 h 272"/>
                <a:gd name="T8" fmla="*/ 53 w 341"/>
                <a:gd name="T9" fmla="*/ 139 h 272"/>
                <a:gd name="T10" fmla="*/ 53 w 341"/>
                <a:gd name="T11" fmla="*/ 139 h 272"/>
                <a:gd name="T12" fmla="*/ 70 w 341"/>
                <a:gd name="T13" fmla="*/ 156 h 272"/>
                <a:gd name="T14" fmla="*/ 84 w 341"/>
                <a:gd name="T15" fmla="*/ 156 h 272"/>
                <a:gd name="T16" fmla="*/ 84 w 341"/>
                <a:gd name="T17" fmla="*/ 142 h 272"/>
                <a:gd name="T18" fmla="*/ 55 w 341"/>
                <a:gd name="T19" fmla="*/ 114 h 272"/>
                <a:gd name="T20" fmla="*/ 54 w 341"/>
                <a:gd name="T21" fmla="*/ 112 h 272"/>
                <a:gd name="T22" fmla="*/ 51 w 341"/>
                <a:gd name="T23" fmla="*/ 110 h 272"/>
                <a:gd name="T24" fmla="*/ 38 w 341"/>
                <a:gd name="T25" fmla="*/ 110 h 272"/>
                <a:gd name="T26" fmla="*/ 36 w 341"/>
                <a:gd name="T27" fmla="*/ 112 h 272"/>
                <a:gd name="T28" fmla="*/ 35 w 341"/>
                <a:gd name="T29" fmla="*/ 113 h 272"/>
                <a:gd name="T30" fmla="*/ 4 w 341"/>
                <a:gd name="T31" fmla="*/ 142 h 272"/>
                <a:gd name="T32" fmla="*/ 3 w 341"/>
                <a:gd name="T33" fmla="*/ 156 h 272"/>
                <a:gd name="T34" fmla="*/ 10 w 341"/>
                <a:gd name="T35" fmla="*/ 159 h 272"/>
                <a:gd name="T36" fmla="*/ 16 w 341"/>
                <a:gd name="T37" fmla="*/ 156 h 272"/>
                <a:gd name="T38" fmla="*/ 34 w 341"/>
                <a:gd name="T39" fmla="*/ 140 h 272"/>
                <a:gd name="T40" fmla="*/ 170 w 341"/>
                <a:gd name="T41" fmla="*/ 272 h 272"/>
                <a:gd name="T42" fmla="*/ 298 w 341"/>
                <a:gd name="T43" fmla="*/ 183 h 272"/>
                <a:gd name="T44" fmla="*/ 298 w 341"/>
                <a:gd name="T45" fmla="*/ 181 h 272"/>
                <a:gd name="T46" fmla="*/ 299 w 341"/>
                <a:gd name="T47" fmla="*/ 178 h 272"/>
                <a:gd name="T48" fmla="*/ 289 w 341"/>
                <a:gd name="T49" fmla="*/ 169 h 272"/>
                <a:gd name="T50" fmla="*/ 338 w 341"/>
                <a:gd name="T51" fmla="*/ 110 h 272"/>
                <a:gd name="T52" fmla="*/ 331 w 341"/>
                <a:gd name="T53" fmla="*/ 107 h 272"/>
                <a:gd name="T54" fmla="*/ 324 w 341"/>
                <a:gd name="T55" fmla="*/ 110 h 272"/>
                <a:gd name="T56" fmla="*/ 306 w 341"/>
                <a:gd name="T57" fmla="*/ 127 h 272"/>
                <a:gd name="T58" fmla="*/ 170 w 341"/>
                <a:gd name="T59" fmla="*/ 0 h 272"/>
                <a:gd name="T60" fmla="*/ 45 w 341"/>
                <a:gd name="T61" fmla="*/ 83 h 272"/>
                <a:gd name="T62" fmla="*/ 44 w 341"/>
                <a:gd name="T63" fmla="*/ 84 h 272"/>
                <a:gd name="T64" fmla="*/ 44 w 341"/>
                <a:gd name="T65" fmla="*/ 88 h 272"/>
                <a:gd name="T66" fmla="*/ 53 w 341"/>
                <a:gd name="T67" fmla="*/ 97 h 272"/>
                <a:gd name="T68" fmla="*/ 62 w 341"/>
                <a:gd name="T69" fmla="*/ 92 h 272"/>
                <a:gd name="T70" fmla="*/ 62 w 341"/>
                <a:gd name="T71" fmla="*/ 91 h 272"/>
                <a:gd name="T72" fmla="*/ 170 w 341"/>
                <a:gd name="T73" fmla="*/ 19 h 272"/>
                <a:gd name="T74" fmla="*/ 287 w 341"/>
                <a:gd name="T75" fmla="*/ 128 h 272"/>
                <a:gd name="T76" fmla="*/ 287 w 341"/>
                <a:gd name="T77" fmla="*/ 128 h 272"/>
                <a:gd name="T78" fmla="*/ 270 w 341"/>
                <a:gd name="T79" fmla="*/ 111 h 272"/>
                <a:gd name="T80" fmla="*/ 256 w 341"/>
                <a:gd name="T81" fmla="*/ 111 h 272"/>
                <a:gd name="T82" fmla="*/ 256 w 341"/>
                <a:gd name="T83" fmla="*/ 124 h 272"/>
                <a:gd name="T84" fmla="*/ 286 w 341"/>
                <a:gd name="T85" fmla="*/ 154 h 272"/>
                <a:gd name="T86" fmla="*/ 287 w 341"/>
                <a:gd name="T87" fmla="*/ 154 h 272"/>
                <a:gd name="T88" fmla="*/ 289 w 341"/>
                <a:gd name="T89" fmla="*/ 156 h 272"/>
                <a:gd name="T90" fmla="*/ 302 w 341"/>
                <a:gd name="T91" fmla="*/ 156 h 272"/>
                <a:gd name="T92" fmla="*/ 306 w 341"/>
                <a:gd name="T93" fmla="*/ 154 h 272"/>
                <a:gd name="T94" fmla="*/ 306 w 341"/>
                <a:gd name="T95" fmla="*/ 153 h 272"/>
                <a:gd name="T96" fmla="*/ 337 w 341"/>
                <a:gd name="T97" fmla="*/ 124 h 272"/>
                <a:gd name="T98" fmla="*/ 338 w 341"/>
                <a:gd name="T99" fmla="*/ 11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1" h="272">
                  <a:moveTo>
                    <a:pt x="289" y="169"/>
                  </a:moveTo>
                  <a:cubicBezTo>
                    <a:pt x="285" y="169"/>
                    <a:pt x="282" y="172"/>
                    <a:pt x="280" y="175"/>
                  </a:cubicBezTo>
                  <a:cubicBezTo>
                    <a:pt x="280" y="175"/>
                    <a:pt x="280" y="176"/>
                    <a:pt x="280" y="176"/>
                  </a:cubicBezTo>
                  <a:cubicBezTo>
                    <a:pt x="264" y="221"/>
                    <a:pt x="221" y="253"/>
                    <a:pt x="170" y="253"/>
                  </a:cubicBezTo>
                  <a:cubicBezTo>
                    <a:pt x="106" y="253"/>
                    <a:pt x="54" y="202"/>
                    <a:pt x="53" y="139"/>
                  </a:cubicBezTo>
                  <a:cubicBezTo>
                    <a:pt x="53" y="139"/>
                    <a:pt x="53" y="139"/>
                    <a:pt x="53" y="139"/>
                  </a:cubicBezTo>
                  <a:cubicBezTo>
                    <a:pt x="70" y="156"/>
                    <a:pt x="70" y="156"/>
                    <a:pt x="70" y="156"/>
                  </a:cubicBezTo>
                  <a:cubicBezTo>
                    <a:pt x="74" y="160"/>
                    <a:pt x="80" y="160"/>
                    <a:pt x="84" y="156"/>
                  </a:cubicBezTo>
                  <a:cubicBezTo>
                    <a:pt x="88" y="152"/>
                    <a:pt x="88" y="146"/>
                    <a:pt x="84" y="142"/>
                  </a:cubicBezTo>
                  <a:cubicBezTo>
                    <a:pt x="55" y="114"/>
                    <a:pt x="55" y="114"/>
                    <a:pt x="55" y="114"/>
                  </a:cubicBezTo>
                  <a:cubicBezTo>
                    <a:pt x="54" y="112"/>
                    <a:pt x="54" y="112"/>
                    <a:pt x="54" y="112"/>
                  </a:cubicBezTo>
                  <a:cubicBezTo>
                    <a:pt x="51" y="110"/>
                    <a:pt x="51" y="110"/>
                    <a:pt x="51" y="110"/>
                  </a:cubicBezTo>
                  <a:cubicBezTo>
                    <a:pt x="48" y="106"/>
                    <a:pt x="42" y="106"/>
                    <a:pt x="38" y="110"/>
                  </a:cubicBezTo>
                  <a:cubicBezTo>
                    <a:pt x="36" y="112"/>
                    <a:pt x="36" y="112"/>
                    <a:pt x="36" y="112"/>
                  </a:cubicBezTo>
                  <a:cubicBezTo>
                    <a:pt x="35" y="113"/>
                    <a:pt x="35" y="113"/>
                    <a:pt x="35" y="113"/>
                  </a:cubicBezTo>
                  <a:cubicBezTo>
                    <a:pt x="4" y="142"/>
                    <a:pt x="4" y="142"/>
                    <a:pt x="4" y="142"/>
                  </a:cubicBezTo>
                  <a:cubicBezTo>
                    <a:pt x="0" y="146"/>
                    <a:pt x="0" y="152"/>
                    <a:pt x="3" y="156"/>
                  </a:cubicBezTo>
                  <a:cubicBezTo>
                    <a:pt x="5" y="158"/>
                    <a:pt x="8" y="159"/>
                    <a:pt x="10" y="159"/>
                  </a:cubicBezTo>
                  <a:cubicBezTo>
                    <a:pt x="12" y="159"/>
                    <a:pt x="15" y="158"/>
                    <a:pt x="16" y="156"/>
                  </a:cubicBezTo>
                  <a:cubicBezTo>
                    <a:pt x="34" y="140"/>
                    <a:pt x="34" y="140"/>
                    <a:pt x="34" y="140"/>
                  </a:cubicBezTo>
                  <a:cubicBezTo>
                    <a:pt x="36" y="213"/>
                    <a:pt x="96" y="272"/>
                    <a:pt x="170" y="272"/>
                  </a:cubicBezTo>
                  <a:cubicBezTo>
                    <a:pt x="228" y="272"/>
                    <a:pt x="279" y="235"/>
                    <a:pt x="298" y="183"/>
                  </a:cubicBezTo>
                  <a:cubicBezTo>
                    <a:pt x="298" y="182"/>
                    <a:pt x="298" y="182"/>
                    <a:pt x="298" y="181"/>
                  </a:cubicBezTo>
                  <a:cubicBezTo>
                    <a:pt x="299" y="180"/>
                    <a:pt x="299" y="180"/>
                    <a:pt x="299" y="178"/>
                  </a:cubicBezTo>
                  <a:cubicBezTo>
                    <a:pt x="299" y="174"/>
                    <a:pt x="294" y="169"/>
                    <a:pt x="289" y="169"/>
                  </a:cubicBezTo>
                  <a:close/>
                  <a:moveTo>
                    <a:pt x="338" y="110"/>
                  </a:moveTo>
                  <a:cubicBezTo>
                    <a:pt x="336" y="108"/>
                    <a:pt x="333" y="107"/>
                    <a:pt x="331" y="107"/>
                  </a:cubicBezTo>
                  <a:cubicBezTo>
                    <a:pt x="328" y="107"/>
                    <a:pt x="326" y="108"/>
                    <a:pt x="324" y="110"/>
                  </a:cubicBezTo>
                  <a:cubicBezTo>
                    <a:pt x="306" y="127"/>
                    <a:pt x="306" y="127"/>
                    <a:pt x="306" y="127"/>
                  </a:cubicBezTo>
                  <a:cubicBezTo>
                    <a:pt x="301" y="56"/>
                    <a:pt x="242" y="0"/>
                    <a:pt x="170" y="0"/>
                  </a:cubicBezTo>
                  <a:cubicBezTo>
                    <a:pt x="114" y="0"/>
                    <a:pt x="66" y="34"/>
                    <a:pt x="45" y="83"/>
                  </a:cubicBezTo>
                  <a:cubicBezTo>
                    <a:pt x="44" y="83"/>
                    <a:pt x="44" y="84"/>
                    <a:pt x="44" y="84"/>
                  </a:cubicBezTo>
                  <a:cubicBezTo>
                    <a:pt x="44" y="85"/>
                    <a:pt x="44" y="86"/>
                    <a:pt x="44" y="88"/>
                  </a:cubicBezTo>
                  <a:cubicBezTo>
                    <a:pt x="44" y="93"/>
                    <a:pt x="48" y="97"/>
                    <a:pt x="53" y="97"/>
                  </a:cubicBezTo>
                  <a:cubicBezTo>
                    <a:pt x="57" y="97"/>
                    <a:pt x="60" y="95"/>
                    <a:pt x="62" y="92"/>
                  </a:cubicBezTo>
                  <a:cubicBezTo>
                    <a:pt x="62" y="91"/>
                    <a:pt x="62" y="91"/>
                    <a:pt x="62" y="91"/>
                  </a:cubicBezTo>
                  <a:cubicBezTo>
                    <a:pt x="80" y="49"/>
                    <a:pt x="122" y="19"/>
                    <a:pt x="170" y="19"/>
                  </a:cubicBezTo>
                  <a:cubicBezTo>
                    <a:pt x="232" y="19"/>
                    <a:pt x="282" y="67"/>
                    <a:pt x="287" y="128"/>
                  </a:cubicBezTo>
                  <a:cubicBezTo>
                    <a:pt x="287" y="128"/>
                    <a:pt x="287" y="128"/>
                    <a:pt x="287" y="128"/>
                  </a:cubicBezTo>
                  <a:cubicBezTo>
                    <a:pt x="270" y="111"/>
                    <a:pt x="270" y="111"/>
                    <a:pt x="270" y="111"/>
                  </a:cubicBezTo>
                  <a:cubicBezTo>
                    <a:pt x="266" y="107"/>
                    <a:pt x="260" y="107"/>
                    <a:pt x="256" y="111"/>
                  </a:cubicBezTo>
                  <a:cubicBezTo>
                    <a:pt x="252" y="114"/>
                    <a:pt x="252" y="120"/>
                    <a:pt x="256" y="124"/>
                  </a:cubicBezTo>
                  <a:cubicBezTo>
                    <a:pt x="286" y="154"/>
                    <a:pt x="286" y="154"/>
                    <a:pt x="286" y="154"/>
                  </a:cubicBezTo>
                  <a:cubicBezTo>
                    <a:pt x="287" y="154"/>
                    <a:pt x="287" y="154"/>
                    <a:pt x="287" y="154"/>
                  </a:cubicBezTo>
                  <a:cubicBezTo>
                    <a:pt x="289" y="156"/>
                    <a:pt x="289" y="156"/>
                    <a:pt x="289" y="156"/>
                  </a:cubicBezTo>
                  <a:cubicBezTo>
                    <a:pt x="293" y="160"/>
                    <a:pt x="298" y="160"/>
                    <a:pt x="302" y="156"/>
                  </a:cubicBezTo>
                  <a:cubicBezTo>
                    <a:pt x="306" y="154"/>
                    <a:pt x="306" y="154"/>
                    <a:pt x="306" y="154"/>
                  </a:cubicBezTo>
                  <a:cubicBezTo>
                    <a:pt x="306" y="153"/>
                    <a:pt x="306" y="153"/>
                    <a:pt x="306" y="153"/>
                  </a:cubicBezTo>
                  <a:cubicBezTo>
                    <a:pt x="337" y="124"/>
                    <a:pt x="337" y="124"/>
                    <a:pt x="337" y="124"/>
                  </a:cubicBezTo>
                  <a:cubicBezTo>
                    <a:pt x="341" y="120"/>
                    <a:pt x="341" y="114"/>
                    <a:pt x="338" y="110"/>
                  </a:cubicBezTo>
                  <a:close/>
                </a:path>
              </a:pathLst>
            </a:custGeom>
            <a:solidFill>
              <a:srgbClr val="D83B01"/>
            </a:solidFill>
            <a:ln>
              <a:noFill/>
            </a:ln>
          </p:spPr>
          <p:txBody>
            <a:bodyPr vert="horz" wrap="square" lIns="89631" tIns="44815" rIns="89631" bIns="44815" numCol="1" anchor="t" anchorCtr="0" compatLnSpc="1">
              <a:prstTxWarp prst="textNoShape">
                <a:avLst/>
              </a:prstTxWarp>
            </a:bodyPr>
            <a:lstStyle/>
            <a:p>
              <a:pPr defTabSz="896386">
                <a:defRPr/>
              </a:pPr>
              <a:endParaRPr lang="en-US" sz="1765" kern="0">
                <a:solidFill>
                  <a:srgbClr val="353535"/>
                </a:solidFill>
              </a:endParaRPr>
            </a:p>
          </p:txBody>
        </p:sp>
        <p:pic>
          <p:nvPicPr>
            <p:cNvPr id="211" name="Picture 210">
              <a:extLst>
                <a:ext uri="{FF2B5EF4-FFF2-40B4-BE49-F238E27FC236}">
                  <a16:creationId xmlns:a16="http://schemas.microsoft.com/office/drawing/2014/main" id="{5BF3FEBB-931C-4D13-BB36-B8DC01CF934F}"/>
                </a:ext>
              </a:extLst>
            </p:cNvPr>
            <p:cNvPicPr>
              <a:picLocks noChangeAspect="1"/>
            </p:cNvPicPr>
            <p:nvPr/>
          </p:nvPicPr>
          <p:blipFill>
            <a:blip r:embed="rId4"/>
            <a:stretch>
              <a:fillRect/>
            </a:stretch>
          </p:blipFill>
          <p:spPr>
            <a:xfrm>
              <a:off x="9419199" y="4100653"/>
              <a:ext cx="360141" cy="360141"/>
            </a:xfrm>
            <a:prstGeom prst="rect">
              <a:avLst/>
            </a:prstGeom>
          </p:spPr>
        </p:pic>
        <p:pic>
          <p:nvPicPr>
            <p:cNvPr id="212" name="Picture 211">
              <a:extLst>
                <a:ext uri="{FF2B5EF4-FFF2-40B4-BE49-F238E27FC236}">
                  <a16:creationId xmlns:a16="http://schemas.microsoft.com/office/drawing/2014/main" id="{8965BB97-3D84-4580-A068-DF7865B320BC}"/>
                </a:ext>
              </a:extLst>
            </p:cNvPr>
            <p:cNvPicPr>
              <a:picLocks noChangeAspect="1"/>
            </p:cNvPicPr>
            <p:nvPr/>
          </p:nvPicPr>
          <p:blipFill>
            <a:blip r:embed="rId5"/>
            <a:stretch>
              <a:fillRect/>
            </a:stretch>
          </p:blipFill>
          <p:spPr>
            <a:xfrm>
              <a:off x="9377733" y="3477350"/>
              <a:ext cx="417501" cy="417501"/>
            </a:xfrm>
            <a:prstGeom prst="rect">
              <a:avLst/>
            </a:prstGeom>
          </p:spPr>
        </p:pic>
        <p:pic>
          <p:nvPicPr>
            <p:cNvPr id="213" name="Picture 212">
              <a:extLst>
                <a:ext uri="{FF2B5EF4-FFF2-40B4-BE49-F238E27FC236}">
                  <a16:creationId xmlns:a16="http://schemas.microsoft.com/office/drawing/2014/main" id="{45A855A9-3E96-4E39-9B76-9D11E34CE953}"/>
                </a:ext>
              </a:extLst>
            </p:cNvPr>
            <p:cNvPicPr>
              <a:picLocks noChangeAspect="1"/>
            </p:cNvPicPr>
            <p:nvPr/>
          </p:nvPicPr>
          <p:blipFill>
            <a:blip r:embed="rId6"/>
            <a:stretch>
              <a:fillRect/>
            </a:stretch>
          </p:blipFill>
          <p:spPr>
            <a:xfrm>
              <a:off x="9419199" y="4676046"/>
              <a:ext cx="344370" cy="344370"/>
            </a:xfrm>
            <a:prstGeom prst="rect">
              <a:avLst/>
            </a:prstGeom>
          </p:spPr>
        </p:pic>
        <p:sp>
          <p:nvSpPr>
            <p:cNvPr id="214" name="GenericApp_EB3B">
              <a:extLst>
                <a:ext uri="{FF2B5EF4-FFF2-40B4-BE49-F238E27FC236}">
                  <a16:creationId xmlns:a16="http://schemas.microsoft.com/office/drawing/2014/main" id="{171992FC-994D-47CA-8E34-DF1F9478C58E}"/>
                </a:ext>
              </a:extLst>
            </p:cNvPr>
            <p:cNvSpPr>
              <a:spLocks noChangeAspect="1" noEditPoints="1"/>
            </p:cNvSpPr>
            <p:nvPr/>
          </p:nvSpPr>
          <p:spPr bwMode="auto">
            <a:xfrm>
              <a:off x="9371634" y="2842966"/>
              <a:ext cx="457020" cy="365760"/>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90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endParaRPr>
            </a:p>
          </p:txBody>
        </p:sp>
      </p:grpSp>
      <p:grpSp>
        <p:nvGrpSpPr>
          <p:cNvPr id="239" name="Group 238">
            <a:extLst>
              <a:ext uri="{FF2B5EF4-FFF2-40B4-BE49-F238E27FC236}">
                <a16:creationId xmlns:a16="http://schemas.microsoft.com/office/drawing/2014/main" id="{2692AAEE-5E64-4FC3-99F4-84408E783409}"/>
              </a:ext>
            </a:extLst>
          </p:cNvPr>
          <p:cNvGrpSpPr/>
          <p:nvPr/>
        </p:nvGrpSpPr>
        <p:grpSpPr>
          <a:xfrm>
            <a:off x="2786320" y="1797955"/>
            <a:ext cx="3167269" cy="798519"/>
            <a:chOff x="2842191" y="1833511"/>
            <a:chExt cx="3230779" cy="814531"/>
          </a:xfrm>
        </p:grpSpPr>
        <p:cxnSp>
          <p:nvCxnSpPr>
            <p:cNvPr id="240" name="Straight Connector 239">
              <a:extLst>
                <a:ext uri="{FF2B5EF4-FFF2-40B4-BE49-F238E27FC236}">
                  <a16:creationId xmlns:a16="http://schemas.microsoft.com/office/drawing/2014/main" id="{D93145A2-879F-4C27-9FB9-F2500F439BC8}"/>
                </a:ext>
              </a:extLst>
            </p:cNvPr>
            <p:cNvCxnSpPr>
              <a:cxnSpLocks/>
            </p:cNvCxnSpPr>
            <p:nvPr/>
          </p:nvCxnSpPr>
          <p:spPr>
            <a:xfrm>
              <a:off x="3203531" y="2347224"/>
              <a:ext cx="322965" cy="0"/>
            </a:xfrm>
            <a:prstGeom prst="line">
              <a:avLst/>
            </a:prstGeom>
            <a:noFill/>
            <a:ln w="38100" cap="flat" cmpd="sng" algn="ctr">
              <a:solidFill>
                <a:srgbClr val="E6E6E6">
                  <a:lumMod val="50000"/>
                </a:srgbClr>
              </a:solidFill>
              <a:prstDash val="solid"/>
              <a:headEnd type="none" w="med" len="med"/>
              <a:tailEnd type="triangle" w="med" len="sm"/>
            </a:ln>
            <a:effectLst/>
          </p:spPr>
        </p:cxnSp>
        <p:sp>
          <p:nvSpPr>
            <p:cNvPr id="241" name="TextBox 240">
              <a:extLst>
                <a:ext uri="{FF2B5EF4-FFF2-40B4-BE49-F238E27FC236}">
                  <a16:creationId xmlns:a16="http://schemas.microsoft.com/office/drawing/2014/main" id="{42FAB8E1-39D8-4876-A9C5-F90225F15B5C}"/>
                </a:ext>
              </a:extLst>
            </p:cNvPr>
            <p:cNvSpPr txBox="1"/>
            <p:nvPr/>
          </p:nvSpPr>
          <p:spPr>
            <a:xfrm>
              <a:off x="3526496" y="1833511"/>
              <a:ext cx="1631353" cy="814531"/>
            </a:xfrm>
            <a:prstGeom prst="rect">
              <a:avLst/>
            </a:prstGeom>
            <a:noFill/>
            <a:ln w="38100" cap="flat" cmpd="sng" algn="ctr">
              <a:no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896386">
                <a:defRPr/>
              </a:pPr>
              <a:endParaRPr lang="en-US" sz="1372" kern="0" cap="all">
                <a:solidFill>
                  <a:srgbClr val="353535">
                    <a:lumMod val="85000"/>
                    <a:lumOff val="15000"/>
                  </a:srgbClr>
                </a:solidFill>
                <a:latin typeface="Segoe UI Semilight"/>
              </a:endParaRPr>
            </a:p>
          </p:txBody>
        </p:sp>
        <p:sp>
          <p:nvSpPr>
            <p:cNvPr id="242" name="TextBox 241">
              <a:extLst>
                <a:ext uri="{FF2B5EF4-FFF2-40B4-BE49-F238E27FC236}">
                  <a16:creationId xmlns:a16="http://schemas.microsoft.com/office/drawing/2014/main" id="{F58779AC-E36A-4157-BEEF-508E10C414EC}"/>
                </a:ext>
              </a:extLst>
            </p:cNvPr>
            <p:cNvSpPr txBox="1"/>
            <p:nvPr/>
          </p:nvSpPr>
          <p:spPr>
            <a:xfrm>
              <a:off x="3562876" y="1904908"/>
              <a:ext cx="1685005" cy="601800"/>
            </a:xfrm>
            <a:prstGeom prst="rect">
              <a:avLst/>
            </a:prstGeom>
            <a:noFill/>
            <a:ln>
              <a:noFill/>
            </a:ln>
          </p:spPr>
          <p:txBody>
            <a:bodyPr wrap="square" rtlCol="0">
              <a:spAutoFit/>
            </a:bodyPr>
            <a:lstStyle/>
            <a:p>
              <a:pPr defTabSz="896386">
                <a:defRPr/>
              </a:pPr>
              <a:r>
                <a:rPr lang="en-US" sz="1078" b="1" kern="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NETWORK &amp; PAAS</a:t>
              </a:r>
              <a:br>
                <a:rPr lang="en-US" sz="1176" kern="0">
                  <a:solidFill>
                    <a:srgbClr val="353535">
                      <a:lumMod val="85000"/>
                      <a:lumOff val="15000"/>
                    </a:srgbClr>
                  </a:solidFill>
                </a:rPr>
              </a:br>
              <a:r>
                <a:rPr lang="en-US" sz="1078" kern="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Netflow, SQL DB </a:t>
              </a:r>
              <a:br>
                <a:rPr lang="en-US" sz="1078" kern="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Storage Logs, …</a:t>
              </a:r>
            </a:p>
          </p:txBody>
        </p:sp>
        <p:cxnSp>
          <p:nvCxnSpPr>
            <p:cNvPr id="243" name="Straight Connector 242">
              <a:extLst>
                <a:ext uri="{FF2B5EF4-FFF2-40B4-BE49-F238E27FC236}">
                  <a16:creationId xmlns:a16="http://schemas.microsoft.com/office/drawing/2014/main" id="{C0DA3DCA-6031-4AE1-9922-EB677CB49440}"/>
                </a:ext>
              </a:extLst>
            </p:cNvPr>
            <p:cNvCxnSpPr>
              <a:cxnSpLocks/>
            </p:cNvCxnSpPr>
            <p:nvPr/>
          </p:nvCxnSpPr>
          <p:spPr>
            <a:xfrm>
              <a:off x="2842191" y="2052873"/>
              <a:ext cx="684305" cy="0"/>
            </a:xfrm>
            <a:prstGeom prst="line">
              <a:avLst/>
            </a:prstGeom>
            <a:noFill/>
            <a:ln w="38100" cap="flat" cmpd="sng" algn="ctr">
              <a:solidFill>
                <a:srgbClr val="E6E6E6">
                  <a:lumMod val="50000"/>
                </a:srgbClr>
              </a:solidFill>
              <a:prstDash val="solid"/>
              <a:headEnd type="none" w="med" len="med"/>
              <a:tailEnd type="triangle" w="med" len="sm"/>
            </a:ln>
            <a:effectLst/>
          </p:spPr>
        </p:cxnSp>
        <p:cxnSp>
          <p:nvCxnSpPr>
            <p:cNvPr id="244" name="Straight Connector 243">
              <a:extLst>
                <a:ext uri="{FF2B5EF4-FFF2-40B4-BE49-F238E27FC236}">
                  <a16:creationId xmlns:a16="http://schemas.microsoft.com/office/drawing/2014/main" id="{243F95FE-744F-4267-8856-AE9551D15F81}"/>
                </a:ext>
              </a:extLst>
            </p:cNvPr>
            <p:cNvCxnSpPr>
              <a:cxnSpLocks/>
            </p:cNvCxnSpPr>
            <p:nvPr/>
          </p:nvCxnSpPr>
          <p:spPr>
            <a:xfrm>
              <a:off x="5157849" y="2320080"/>
              <a:ext cx="915121" cy="1"/>
            </a:xfrm>
            <a:prstGeom prst="line">
              <a:avLst/>
            </a:prstGeom>
            <a:noFill/>
            <a:ln w="38100" cap="flat" cmpd="sng" algn="ctr">
              <a:solidFill>
                <a:srgbClr val="E6E6E6">
                  <a:lumMod val="50000"/>
                </a:srgbClr>
              </a:solidFill>
              <a:prstDash val="solid"/>
              <a:headEnd type="none" w="med" len="med"/>
              <a:tailEnd type="triangle" w="med" len="sm"/>
            </a:ln>
            <a:effectLst/>
          </p:spPr>
        </p:cxnSp>
      </p:grpSp>
      <p:grpSp>
        <p:nvGrpSpPr>
          <p:cNvPr id="245" name="Group 244">
            <a:extLst>
              <a:ext uri="{FF2B5EF4-FFF2-40B4-BE49-F238E27FC236}">
                <a16:creationId xmlns:a16="http://schemas.microsoft.com/office/drawing/2014/main" id="{A2CA2D51-EACD-4C54-98D0-AC438F8C596F}"/>
              </a:ext>
            </a:extLst>
          </p:cNvPr>
          <p:cNvGrpSpPr/>
          <p:nvPr/>
        </p:nvGrpSpPr>
        <p:grpSpPr>
          <a:xfrm>
            <a:off x="5074925" y="874288"/>
            <a:ext cx="2990805" cy="3009734"/>
            <a:chOff x="5247881" y="503377"/>
            <a:chExt cx="3050777" cy="3070085"/>
          </a:xfrm>
        </p:grpSpPr>
        <p:grpSp>
          <p:nvGrpSpPr>
            <p:cNvPr id="246" name="Group 245">
              <a:extLst>
                <a:ext uri="{FF2B5EF4-FFF2-40B4-BE49-F238E27FC236}">
                  <a16:creationId xmlns:a16="http://schemas.microsoft.com/office/drawing/2014/main" id="{F54E9879-4A2C-469F-96FE-5710F19E2F58}"/>
                </a:ext>
              </a:extLst>
            </p:cNvPr>
            <p:cNvGrpSpPr/>
            <p:nvPr/>
          </p:nvGrpSpPr>
          <p:grpSpPr>
            <a:xfrm>
              <a:off x="5247881" y="503377"/>
              <a:ext cx="3050777" cy="3070085"/>
              <a:chOff x="5247881" y="503377"/>
              <a:chExt cx="3050777" cy="3070085"/>
            </a:xfrm>
          </p:grpSpPr>
          <p:grpSp>
            <p:nvGrpSpPr>
              <p:cNvPr id="253" name="Group 252">
                <a:extLst>
                  <a:ext uri="{FF2B5EF4-FFF2-40B4-BE49-F238E27FC236}">
                    <a16:creationId xmlns:a16="http://schemas.microsoft.com/office/drawing/2014/main" id="{5EB8ABDA-56BB-46E0-B515-3EE295DFAE3A}"/>
                  </a:ext>
                </a:extLst>
              </p:cNvPr>
              <p:cNvGrpSpPr/>
              <p:nvPr/>
            </p:nvGrpSpPr>
            <p:grpSpPr>
              <a:xfrm>
                <a:off x="6072970" y="1453830"/>
                <a:ext cx="2225688" cy="1282192"/>
                <a:chOff x="3859322" y="3518834"/>
                <a:chExt cx="2225688" cy="1138688"/>
              </a:xfrm>
              <a:solidFill>
                <a:srgbClr val="FFFFFF"/>
              </a:solidFill>
            </p:grpSpPr>
            <p:sp>
              <p:nvSpPr>
                <p:cNvPr id="258" name="Freeform 95">
                  <a:extLst>
                    <a:ext uri="{FF2B5EF4-FFF2-40B4-BE49-F238E27FC236}">
                      <a16:creationId xmlns:a16="http://schemas.microsoft.com/office/drawing/2014/main" id="{F3E6CB5E-10E1-4F77-B058-5125D33D2D08}"/>
                    </a:ext>
                  </a:extLst>
                </p:cNvPr>
                <p:cNvSpPr>
                  <a:spLocks/>
                </p:cNvSpPr>
                <p:nvPr/>
              </p:nvSpPr>
              <p:spPr bwMode="auto">
                <a:xfrm flipH="1">
                  <a:off x="3859322" y="3518834"/>
                  <a:ext cx="2225688" cy="113868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w="38100">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kern="0">
                    <a:solidFill>
                      <a:srgbClr val="505050"/>
                    </a:solidFill>
                    <a:latin typeface="Segoe UI"/>
                  </a:endParaRPr>
                </a:p>
              </p:txBody>
            </p:sp>
            <p:sp>
              <p:nvSpPr>
                <p:cNvPr id="259" name="Rectangle 258">
                  <a:extLst>
                    <a:ext uri="{FF2B5EF4-FFF2-40B4-BE49-F238E27FC236}">
                      <a16:creationId xmlns:a16="http://schemas.microsoft.com/office/drawing/2014/main" id="{34FEC5B5-EE06-41B0-B32D-D59CB11AEC85}"/>
                    </a:ext>
                  </a:extLst>
                </p:cNvPr>
                <p:cNvSpPr/>
                <p:nvPr/>
              </p:nvSpPr>
              <p:spPr>
                <a:xfrm>
                  <a:off x="3982638" y="4076192"/>
                  <a:ext cx="2086188" cy="532993"/>
                </a:xfrm>
                <a:prstGeom prst="rect">
                  <a:avLst/>
                </a:prstGeom>
                <a:noFill/>
                <a:ln>
                  <a:noFill/>
                </a:ln>
              </p:spPr>
              <p:txBody>
                <a:bodyPr wrap="square">
                  <a:spAutoFit/>
                </a:bodyPr>
                <a:lstStyle/>
                <a:p>
                  <a:pPr defTabSz="896386">
                    <a:defRPr/>
                  </a:pPr>
                  <a:r>
                    <a:rPr lang="en-US" sz="1078" b="1" kern="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SECURITY ANALYTICS</a:t>
                  </a:r>
                  <a:endParaRPr lang="en-US" sz="1176" kern="0">
                    <a:solidFill>
                      <a:srgbClr val="353535"/>
                    </a:solidFill>
                  </a:endParaRPr>
                </a:p>
                <a:p>
                  <a:pPr defTabSz="896386">
                    <a:spcAft>
                      <a:spcPts val="588"/>
                    </a:spcAft>
                    <a:defRPr/>
                  </a:pPr>
                  <a:r>
                    <a:rPr lang="en-US" sz="1078" kern="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Threat Detections, Prescriptive Recommendations</a:t>
                  </a:r>
                </a:p>
              </p:txBody>
            </p:sp>
          </p:grpSp>
          <p:sp>
            <p:nvSpPr>
              <p:cNvPr id="254" name="TextBox 253">
                <a:extLst>
                  <a:ext uri="{FF2B5EF4-FFF2-40B4-BE49-F238E27FC236}">
                    <a16:creationId xmlns:a16="http://schemas.microsoft.com/office/drawing/2014/main" id="{4344CD18-EECB-46FF-A486-A2AB33B410FA}"/>
                  </a:ext>
                </a:extLst>
              </p:cNvPr>
              <p:cNvSpPr txBox="1"/>
              <p:nvPr/>
            </p:nvSpPr>
            <p:spPr>
              <a:xfrm>
                <a:off x="6370637" y="503377"/>
                <a:ext cx="1429224" cy="635800"/>
              </a:xfrm>
              <a:prstGeom prst="rect">
                <a:avLst/>
              </a:prstGeom>
              <a:noFill/>
              <a:ln w="38100" cap="flat" cmpd="sng" algn="ctr">
                <a:noFill/>
                <a:prstDash val="solid"/>
              </a:ln>
              <a:effectLst/>
            </p:spPr>
            <p:txBody>
              <a:bodyPr lIns="8964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117679" fontAlgn="base">
                  <a:spcAft>
                    <a:spcPct val="0"/>
                  </a:spcAft>
                  <a:defRPr/>
                </a:pPr>
                <a: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THREAT</a:t>
                </a:r>
              </a:p>
              <a:p>
                <a:pPr defTabSz="1117679" fontAlgn="base">
                  <a:spcAft>
                    <a:spcPct val="0"/>
                  </a:spcAft>
                  <a:defRPr/>
                </a:pPr>
                <a: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INTELLIGENCE</a:t>
                </a:r>
              </a:p>
            </p:txBody>
          </p:sp>
          <p:cxnSp>
            <p:nvCxnSpPr>
              <p:cNvPr id="255" name="Straight Connector 254">
                <a:extLst>
                  <a:ext uri="{FF2B5EF4-FFF2-40B4-BE49-F238E27FC236}">
                    <a16:creationId xmlns:a16="http://schemas.microsoft.com/office/drawing/2014/main" id="{AE0B49A7-6897-4B17-921C-7B3828D94D06}"/>
                  </a:ext>
                </a:extLst>
              </p:cNvPr>
              <p:cNvCxnSpPr>
                <a:cxnSpLocks/>
                <a:endCxn id="258" idx="2"/>
              </p:cNvCxnSpPr>
              <p:nvPr/>
            </p:nvCxnSpPr>
            <p:spPr>
              <a:xfrm>
                <a:off x="7043683" y="1098529"/>
                <a:ext cx="1" cy="355301"/>
              </a:xfrm>
              <a:prstGeom prst="line">
                <a:avLst/>
              </a:prstGeom>
              <a:noFill/>
              <a:ln w="38100" cap="flat" cmpd="sng" algn="ctr">
                <a:solidFill>
                  <a:srgbClr val="E6E6E6">
                    <a:lumMod val="50000"/>
                  </a:srgbClr>
                </a:solidFill>
                <a:prstDash val="solid"/>
                <a:headEnd type="none" w="med" len="med"/>
                <a:tailEnd type="triangle" w="med" len="sm"/>
              </a:ln>
              <a:effectLst/>
            </p:spPr>
          </p:cxnSp>
          <p:cxnSp>
            <p:nvCxnSpPr>
              <p:cNvPr id="256" name="Straight Connector 255">
                <a:extLst>
                  <a:ext uri="{FF2B5EF4-FFF2-40B4-BE49-F238E27FC236}">
                    <a16:creationId xmlns:a16="http://schemas.microsoft.com/office/drawing/2014/main" id="{848E437C-DA75-4E6F-BDB3-D457E08EFD04}"/>
                  </a:ext>
                </a:extLst>
              </p:cNvPr>
              <p:cNvCxnSpPr>
                <a:cxnSpLocks/>
              </p:cNvCxnSpPr>
              <p:nvPr/>
            </p:nvCxnSpPr>
            <p:spPr>
              <a:xfrm>
                <a:off x="7153308" y="2749535"/>
                <a:ext cx="0" cy="252632"/>
              </a:xfrm>
              <a:prstGeom prst="line">
                <a:avLst/>
              </a:prstGeom>
              <a:noFill/>
              <a:ln w="38100" cap="flat" cmpd="sng" algn="ctr">
                <a:solidFill>
                  <a:srgbClr val="E6E6E6">
                    <a:lumMod val="50000"/>
                  </a:srgbClr>
                </a:solidFill>
                <a:prstDash val="solid"/>
                <a:headEnd type="none" w="med" len="med"/>
                <a:tailEnd type="triangle" w="med" len="sm"/>
              </a:ln>
              <a:effectLst/>
            </p:spPr>
          </p:cxnSp>
          <p:cxnSp>
            <p:nvCxnSpPr>
              <p:cNvPr id="257" name="Straight Connector 256">
                <a:extLst>
                  <a:ext uri="{FF2B5EF4-FFF2-40B4-BE49-F238E27FC236}">
                    <a16:creationId xmlns:a16="http://schemas.microsoft.com/office/drawing/2014/main" id="{1FE9E847-7FFC-40B7-9807-FA38A8CD392B}"/>
                  </a:ext>
                </a:extLst>
              </p:cNvPr>
              <p:cNvCxnSpPr>
                <a:cxnSpLocks/>
              </p:cNvCxnSpPr>
              <p:nvPr/>
            </p:nvCxnSpPr>
            <p:spPr>
              <a:xfrm flipV="1">
                <a:off x="5247881" y="2648042"/>
                <a:ext cx="970356" cy="925420"/>
              </a:xfrm>
              <a:prstGeom prst="line">
                <a:avLst/>
              </a:prstGeom>
              <a:noFill/>
              <a:ln w="38100" cap="flat" cmpd="sng" algn="ctr">
                <a:solidFill>
                  <a:srgbClr val="E6E6E6">
                    <a:lumMod val="50000"/>
                  </a:srgbClr>
                </a:solidFill>
                <a:prstDash val="solid"/>
                <a:headEnd type="none" w="med" len="med"/>
                <a:tailEnd type="triangle" w="med" len="sm"/>
              </a:ln>
              <a:effectLst/>
            </p:spPr>
          </p:cxnSp>
        </p:grpSp>
        <p:grpSp>
          <p:nvGrpSpPr>
            <p:cNvPr id="247" name="Group 4">
              <a:extLst>
                <a:ext uri="{FF2B5EF4-FFF2-40B4-BE49-F238E27FC236}">
                  <a16:creationId xmlns:a16="http://schemas.microsoft.com/office/drawing/2014/main" id="{BEBAF64F-CDE2-40A3-837D-D737B79E9097}"/>
                </a:ext>
              </a:extLst>
            </p:cNvPr>
            <p:cNvGrpSpPr>
              <a:grpSpLocks noChangeAspect="1"/>
            </p:cNvGrpSpPr>
            <p:nvPr/>
          </p:nvGrpSpPr>
          <p:grpSpPr bwMode="auto">
            <a:xfrm>
              <a:off x="6871403" y="1721869"/>
              <a:ext cx="344561" cy="316948"/>
              <a:chOff x="490" y="250"/>
              <a:chExt cx="574" cy="528"/>
            </a:xfrm>
            <a:solidFill>
              <a:srgbClr val="0078D7"/>
            </a:solidFill>
          </p:grpSpPr>
          <p:sp>
            <p:nvSpPr>
              <p:cNvPr id="248" name="Freeform 5">
                <a:extLst>
                  <a:ext uri="{FF2B5EF4-FFF2-40B4-BE49-F238E27FC236}">
                    <a16:creationId xmlns:a16="http://schemas.microsoft.com/office/drawing/2014/main" id="{C250636D-DDE5-4DCA-B2D7-306F3C447457}"/>
                  </a:ext>
                </a:extLst>
              </p:cNvPr>
              <p:cNvSpPr>
                <a:spLocks/>
              </p:cNvSpPr>
              <p:nvPr/>
            </p:nvSpPr>
            <p:spPr bwMode="auto">
              <a:xfrm>
                <a:off x="490" y="260"/>
                <a:ext cx="574" cy="518"/>
              </a:xfrm>
              <a:custGeom>
                <a:avLst/>
                <a:gdLst>
                  <a:gd name="T0" fmla="*/ 236 w 240"/>
                  <a:gd name="T1" fmla="*/ 216 h 216"/>
                  <a:gd name="T2" fmla="*/ 0 w 240"/>
                  <a:gd name="T3" fmla="*/ 216 h 216"/>
                  <a:gd name="T4" fmla="*/ 0 w 240"/>
                  <a:gd name="T5" fmla="*/ 4 h 216"/>
                  <a:gd name="T6" fmla="*/ 4 w 240"/>
                  <a:gd name="T7" fmla="*/ 0 h 216"/>
                  <a:gd name="T8" fmla="*/ 8 w 240"/>
                  <a:gd name="T9" fmla="*/ 4 h 216"/>
                  <a:gd name="T10" fmla="*/ 8 w 240"/>
                  <a:gd name="T11" fmla="*/ 208 h 216"/>
                  <a:gd name="T12" fmla="*/ 236 w 240"/>
                  <a:gd name="T13" fmla="*/ 208 h 216"/>
                  <a:gd name="T14" fmla="*/ 240 w 240"/>
                  <a:gd name="T15" fmla="*/ 212 h 216"/>
                  <a:gd name="T16" fmla="*/ 236 w 240"/>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16">
                    <a:moveTo>
                      <a:pt x="236" y="216"/>
                    </a:moveTo>
                    <a:cubicBezTo>
                      <a:pt x="0" y="216"/>
                      <a:pt x="0" y="216"/>
                      <a:pt x="0" y="216"/>
                    </a:cubicBezTo>
                    <a:cubicBezTo>
                      <a:pt x="0" y="4"/>
                      <a:pt x="0" y="4"/>
                      <a:pt x="0" y="4"/>
                    </a:cubicBezTo>
                    <a:cubicBezTo>
                      <a:pt x="0" y="2"/>
                      <a:pt x="2" y="0"/>
                      <a:pt x="4" y="0"/>
                    </a:cubicBezTo>
                    <a:cubicBezTo>
                      <a:pt x="6" y="0"/>
                      <a:pt x="8" y="2"/>
                      <a:pt x="8" y="4"/>
                    </a:cubicBezTo>
                    <a:cubicBezTo>
                      <a:pt x="8" y="208"/>
                      <a:pt x="8" y="208"/>
                      <a:pt x="8" y="208"/>
                    </a:cubicBezTo>
                    <a:cubicBezTo>
                      <a:pt x="236" y="208"/>
                      <a:pt x="236" y="208"/>
                      <a:pt x="236" y="208"/>
                    </a:cubicBezTo>
                    <a:cubicBezTo>
                      <a:pt x="238" y="208"/>
                      <a:pt x="240" y="210"/>
                      <a:pt x="240" y="212"/>
                    </a:cubicBezTo>
                    <a:cubicBezTo>
                      <a:pt x="240" y="214"/>
                      <a:pt x="238" y="216"/>
                      <a:pt x="236" y="216"/>
                    </a:cubicBezTo>
                    <a:close/>
                  </a:path>
                </a:pathLst>
              </a:custGeom>
              <a:solidFill>
                <a:srgbClr val="0078D7"/>
              </a:solidFill>
              <a:ln w="9525">
                <a:solidFill>
                  <a:srgbClr val="0078D7"/>
                </a:solidFill>
                <a:round/>
                <a:headEnd/>
                <a:tailEnd/>
              </a:ln>
            </p:spPr>
            <p:txBody>
              <a:bodyPr vert="horz" wrap="square" lIns="89631" tIns="44815" rIns="89631" bIns="44815" numCol="1" anchor="t" anchorCtr="0" compatLnSpc="1">
                <a:prstTxWarp prst="textNoShape">
                  <a:avLst/>
                </a:prstTxWarp>
              </a:bodyPr>
              <a:lstStyle/>
              <a:p>
                <a:pPr defTabSz="896386">
                  <a:defRPr/>
                </a:pPr>
                <a:endParaRPr lang="en-US" sz="1765" kern="0">
                  <a:solidFill>
                    <a:srgbClr val="353535"/>
                  </a:solidFill>
                </a:endParaRPr>
              </a:p>
            </p:txBody>
          </p:sp>
          <p:sp>
            <p:nvSpPr>
              <p:cNvPr id="249" name="Freeform 6">
                <a:extLst>
                  <a:ext uri="{FF2B5EF4-FFF2-40B4-BE49-F238E27FC236}">
                    <a16:creationId xmlns:a16="http://schemas.microsoft.com/office/drawing/2014/main" id="{E6B9EE10-5EF3-4D08-99A8-6A8B4C9337CF}"/>
                  </a:ext>
                </a:extLst>
              </p:cNvPr>
              <p:cNvSpPr>
                <a:spLocks noEditPoints="1"/>
              </p:cNvSpPr>
              <p:nvPr/>
            </p:nvSpPr>
            <p:spPr bwMode="auto">
              <a:xfrm>
                <a:off x="547" y="663"/>
                <a:ext cx="96" cy="76"/>
              </a:xfrm>
              <a:custGeom>
                <a:avLst/>
                <a:gdLst>
                  <a:gd name="T0" fmla="*/ 36 w 40"/>
                  <a:gd name="T1" fmla="*/ 32 h 32"/>
                  <a:gd name="T2" fmla="*/ 4 w 40"/>
                  <a:gd name="T3" fmla="*/ 32 h 32"/>
                  <a:gd name="T4" fmla="*/ 0 w 40"/>
                  <a:gd name="T5" fmla="*/ 28 h 32"/>
                  <a:gd name="T6" fmla="*/ 0 w 40"/>
                  <a:gd name="T7" fmla="*/ 4 h 32"/>
                  <a:gd name="T8" fmla="*/ 4 w 40"/>
                  <a:gd name="T9" fmla="*/ 0 h 32"/>
                  <a:gd name="T10" fmla="*/ 36 w 40"/>
                  <a:gd name="T11" fmla="*/ 0 h 32"/>
                  <a:gd name="T12" fmla="*/ 40 w 40"/>
                  <a:gd name="T13" fmla="*/ 4 h 32"/>
                  <a:gd name="T14" fmla="*/ 40 w 40"/>
                  <a:gd name="T15" fmla="*/ 28 h 32"/>
                  <a:gd name="T16" fmla="*/ 36 w 40"/>
                  <a:gd name="T17" fmla="*/ 32 h 32"/>
                  <a:gd name="T18" fmla="*/ 8 w 40"/>
                  <a:gd name="T19" fmla="*/ 24 h 32"/>
                  <a:gd name="T20" fmla="*/ 32 w 40"/>
                  <a:gd name="T21" fmla="*/ 24 h 32"/>
                  <a:gd name="T22" fmla="*/ 32 w 40"/>
                  <a:gd name="T23" fmla="*/ 8 h 32"/>
                  <a:gd name="T24" fmla="*/ 8 w 40"/>
                  <a:gd name="T25" fmla="*/ 8 h 32"/>
                  <a:gd name="T26" fmla="*/ 8 w 40"/>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36" y="32"/>
                    </a:moveTo>
                    <a:cubicBezTo>
                      <a:pt x="4" y="32"/>
                      <a:pt x="4" y="32"/>
                      <a:pt x="4" y="32"/>
                    </a:cubicBezTo>
                    <a:cubicBezTo>
                      <a:pt x="2" y="32"/>
                      <a:pt x="0" y="30"/>
                      <a:pt x="0" y="28"/>
                    </a:cubicBezTo>
                    <a:cubicBezTo>
                      <a:pt x="0" y="4"/>
                      <a:pt x="0" y="4"/>
                      <a:pt x="0" y="4"/>
                    </a:cubicBezTo>
                    <a:cubicBezTo>
                      <a:pt x="0" y="2"/>
                      <a:pt x="2" y="0"/>
                      <a:pt x="4" y="0"/>
                    </a:cubicBezTo>
                    <a:cubicBezTo>
                      <a:pt x="36" y="0"/>
                      <a:pt x="36" y="0"/>
                      <a:pt x="36" y="0"/>
                    </a:cubicBezTo>
                    <a:cubicBezTo>
                      <a:pt x="38" y="0"/>
                      <a:pt x="40" y="2"/>
                      <a:pt x="40" y="4"/>
                    </a:cubicBezTo>
                    <a:cubicBezTo>
                      <a:pt x="40" y="28"/>
                      <a:pt x="40" y="28"/>
                      <a:pt x="40" y="28"/>
                    </a:cubicBezTo>
                    <a:cubicBezTo>
                      <a:pt x="40" y="30"/>
                      <a:pt x="38" y="32"/>
                      <a:pt x="36" y="32"/>
                    </a:cubicBezTo>
                    <a:close/>
                    <a:moveTo>
                      <a:pt x="8" y="24"/>
                    </a:moveTo>
                    <a:cubicBezTo>
                      <a:pt x="32" y="24"/>
                      <a:pt x="32" y="24"/>
                      <a:pt x="32" y="24"/>
                    </a:cubicBezTo>
                    <a:cubicBezTo>
                      <a:pt x="32" y="8"/>
                      <a:pt x="32" y="8"/>
                      <a:pt x="32" y="8"/>
                    </a:cubicBezTo>
                    <a:cubicBezTo>
                      <a:pt x="8" y="8"/>
                      <a:pt x="8" y="8"/>
                      <a:pt x="8" y="8"/>
                    </a:cubicBezTo>
                    <a:lnTo>
                      <a:pt x="8" y="24"/>
                    </a:lnTo>
                    <a:close/>
                  </a:path>
                </a:pathLst>
              </a:custGeom>
              <a:grpFill/>
              <a:ln w="9525">
                <a:solidFill>
                  <a:srgbClr val="0078D7"/>
                </a:solidFill>
                <a:round/>
                <a:headEnd/>
                <a:tailEnd/>
              </a:ln>
            </p:spPr>
            <p:txBody>
              <a:bodyPr vert="horz" wrap="square" lIns="89631" tIns="44815" rIns="89631" bIns="44815" numCol="1" anchor="t" anchorCtr="0" compatLnSpc="1">
                <a:prstTxWarp prst="textNoShape">
                  <a:avLst/>
                </a:prstTxWarp>
              </a:bodyPr>
              <a:lstStyle/>
              <a:p>
                <a:pPr defTabSz="896386">
                  <a:defRPr/>
                </a:pPr>
                <a:endParaRPr lang="en-US" sz="1765" kern="0">
                  <a:solidFill>
                    <a:srgbClr val="353535"/>
                  </a:solidFill>
                </a:endParaRPr>
              </a:p>
            </p:txBody>
          </p:sp>
          <p:sp>
            <p:nvSpPr>
              <p:cNvPr id="250" name="Freeform 7">
                <a:extLst>
                  <a:ext uri="{FF2B5EF4-FFF2-40B4-BE49-F238E27FC236}">
                    <a16:creationId xmlns:a16="http://schemas.microsoft.com/office/drawing/2014/main" id="{2072BC5B-4233-4923-8798-C99895F71ED4}"/>
                  </a:ext>
                </a:extLst>
              </p:cNvPr>
              <p:cNvSpPr>
                <a:spLocks noEditPoints="1"/>
              </p:cNvSpPr>
              <p:nvPr/>
            </p:nvSpPr>
            <p:spPr bwMode="auto">
              <a:xfrm>
                <a:off x="681" y="442"/>
                <a:ext cx="96" cy="297"/>
              </a:xfrm>
              <a:custGeom>
                <a:avLst/>
                <a:gdLst>
                  <a:gd name="T0" fmla="*/ 36 w 40"/>
                  <a:gd name="T1" fmla="*/ 124 h 124"/>
                  <a:gd name="T2" fmla="*/ 4 w 40"/>
                  <a:gd name="T3" fmla="*/ 124 h 124"/>
                  <a:gd name="T4" fmla="*/ 0 w 40"/>
                  <a:gd name="T5" fmla="*/ 120 h 124"/>
                  <a:gd name="T6" fmla="*/ 0 w 40"/>
                  <a:gd name="T7" fmla="*/ 4 h 124"/>
                  <a:gd name="T8" fmla="*/ 4 w 40"/>
                  <a:gd name="T9" fmla="*/ 0 h 124"/>
                  <a:gd name="T10" fmla="*/ 36 w 40"/>
                  <a:gd name="T11" fmla="*/ 0 h 124"/>
                  <a:gd name="T12" fmla="*/ 40 w 40"/>
                  <a:gd name="T13" fmla="*/ 4 h 124"/>
                  <a:gd name="T14" fmla="*/ 40 w 40"/>
                  <a:gd name="T15" fmla="*/ 120 h 124"/>
                  <a:gd name="T16" fmla="*/ 36 w 40"/>
                  <a:gd name="T17" fmla="*/ 124 h 124"/>
                  <a:gd name="T18" fmla="*/ 8 w 40"/>
                  <a:gd name="T19" fmla="*/ 116 h 124"/>
                  <a:gd name="T20" fmla="*/ 32 w 40"/>
                  <a:gd name="T21" fmla="*/ 116 h 124"/>
                  <a:gd name="T22" fmla="*/ 32 w 40"/>
                  <a:gd name="T23" fmla="*/ 8 h 124"/>
                  <a:gd name="T24" fmla="*/ 8 w 40"/>
                  <a:gd name="T25" fmla="*/ 8 h 124"/>
                  <a:gd name="T26" fmla="*/ 8 w 40"/>
                  <a:gd name="T2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24">
                    <a:moveTo>
                      <a:pt x="36" y="124"/>
                    </a:moveTo>
                    <a:cubicBezTo>
                      <a:pt x="4" y="124"/>
                      <a:pt x="4" y="124"/>
                      <a:pt x="4" y="124"/>
                    </a:cubicBezTo>
                    <a:cubicBezTo>
                      <a:pt x="2" y="124"/>
                      <a:pt x="0" y="122"/>
                      <a:pt x="0" y="120"/>
                    </a:cubicBezTo>
                    <a:cubicBezTo>
                      <a:pt x="0" y="4"/>
                      <a:pt x="0" y="4"/>
                      <a:pt x="0" y="4"/>
                    </a:cubicBezTo>
                    <a:cubicBezTo>
                      <a:pt x="0" y="2"/>
                      <a:pt x="2" y="0"/>
                      <a:pt x="4" y="0"/>
                    </a:cubicBezTo>
                    <a:cubicBezTo>
                      <a:pt x="36" y="0"/>
                      <a:pt x="36" y="0"/>
                      <a:pt x="36" y="0"/>
                    </a:cubicBezTo>
                    <a:cubicBezTo>
                      <a:pt x="38" y="0"/>
                      <a:pt x="40" y="2"/>
                      <a:pt x="40" y="4"/>
                    </a:cubicBezTo>
                    <a:cubicBezTo>
                      <a:pt x="40" y="120"/>
                      <a:pt x="40" y="120"/>
                      <a:pt x="40" y="120"/>
                    </a:cubicBezTo>
                    <a:cubicBezTo>
                      <a:pt x="40" y="122"/>
                      <a:pt x="38" y="124"/>
                      <a:pt x="36" y="124"/>
                    </a:cubicBezTo>
                    <a:close/>
                    <a:moveTo>
                      <a:pt x="8" y="116"/>
                    </a:moveTo>
                    <a:cubicBezTo>
                      <a:pt x="32" y="116"/>
                      <a:pt x="32" y="116"/>
                      <a:pt x="32" y="116"/>
                    </a:cubicBezTo>
                    <a:cubicBezTo>
                      <a:pt x="32" y="8"/>
                      <a:pt x="32" y="8"/>
                      <a:pt x="32" y="8"/>
                    </a:cubicBezTo>
                    <a:cubicBezTo>
                      <a:pt x="8" y="8"/>
                      <a:pt x="8" y="8"/>
                      <a:pt x="8" y="8"/>
                    </a:cubicBezTo>
                    <a:lnTo>
                      <a:pt x="8" y="116"/>
                    </a:lnTo>
                    <a:close/>
                  </a:path>
                </a:pathLst>
              </a:custGeom>
              <a:grpFill/>
              <a:ln w="9525">
                <a:solidFill>
                  <a:srgbClr val="0078D7"/>
                </a:solidFill>
                <a:round/>
                <a:headEnd/>
                <a:tailEnd/>
              </a:ln>
            </p:spPr>
            <p:txBody>
              <a:bodyPr vert="horz" wrap="square" lIns="89631" tIns="44815" rIns="89631" bIns="44815" numCol="1" anchor="t" anchorCtr="0" compatLnSpc="1">
                <a:prstTxWarp prst="textNoShape">
                  <a:avLst/>
                </a:prstTxWarp>
              </a:bodyPr>
              <a:lstStyle/>
              <a:p>
                <a:pPr defTabSz="896386">
                  <a:defRPr/>
                </a:pPr>
                <a:endParaRPr lang="en-US" sz="1765" kern="0">
                  <a:solidFill>
                    <a:srgbClr val="353535"/>
                  </a:solidFill>
                </a:endParaRPr>
              </a:p>
            </p:txBody>
          </p:sp>
          <p:sp>
            <p:nvSpPr>
              <p:cNvPr id="251" name="Freeform 8">
                <a:extLst>
                  <a:ext uri="{FF2B5EF4-FFF2-40B4-BE49-F238E27FC236}">
                    <a16:creationId xmlns:a16="http://schemas.microsoft.com/office/drawing/2014/main" id="{76F052A1-11F1-46B9-B14B-34C405E1F94C}"/>
                  </a:ext>
                </a:extLst>
              </p:cNvPr>
              <p:cNvSpPr>
                <a:spLocks noEditPoints="1"/>
              </p:cNvSpPr>
              <p:nvPr/>
            </p:nvSpPr>
            <p:spPr bwMode="auto">
              <a:xfrm>
                <a:off x="815" y="519"/>
                <a:ext cx="96" cy="220"/>
              </a:xfrm>
              <a:custGeom>
                <a:avLst/>
                <a:gdLst>
                  <a:gd name="T0" fmla="*/ 36 w 40"/>
                  <a:gd name="T1" fmla="*/ 92 h 92"/>
                  <a:gd name="T2" fmla="*/ 4 w 40"/>
                  <a:gd name="T3" fmla="*/ 92 h 92"/>
                  <a:gd name="T4" fmla="*/ 0 w 40"/>
                  <a:gd name="T5" fmla="*/ 88 h 92"/>
                  <a:gd name="T6" fmla="*/ 0 w 40"/>
                  <a:gd name="T7" fmla="*/ 4 h 92"/>
                  <a:gd name="T8" fmla="*/ 4 w 40"/>
                  <a:gd name="T9" fmla="*/ 0 h 92"/>
                  <a:gd name="T10" fmla="*/ 36 w 40"/>
                  <a:gd name="T11" fmla="*/ 0 h 92"/>
                  <a:gd name="T12" fmla="*/ 40 w 40"/>
                  <a:gd name="T13" fmla="*/ 4 h 92"/>
                  <a:gd name="T14" fmla="*/ 40 w 40"/>
                  <a:gd name="T15" fmla="*/ 88 h 92"/>
                  <a:gd name="T16" fmla="*/ 36 w 40"/>
                  <a:gd name="T17" fmla="*/ 92 h 92"/>
                  <a:gd name="T18" fmla="*/ 8 w 40"/>
                  <a:gd name="T19" fmla="*/ 84 h 92"/>
                  <a:gd name="T20" fmla="*/ 32 w 40"/>
                  <a:gd name="T21" fmla="*/ 84 h 92"/>
                  <a:gd name="T22" fmla="*/ 32 w 40"/>
                  <a:gd name="T23" fmla="*/ 8 h 92"/>
                  <a:gd name="T24" fmla="*/ 8 w 40"/>
                  <a:gd name="T25" fmla="*/ 8 h 92"/>
                  <a:gd name="T26" fmla="*/ 8 w 40"/>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92">
                    <a:moveTo>
                      <a:pt x="36" y="92"/>
                    </a:moveTo>
                    <a:cubicBezTo>
                      <a:pt x="4" y="92"/>
                      <a:pt x="4" y="92"/>
                      <a:pt x="4" y="92"/>
                    </a:cubicBezTo>
                    <a:cubicBezTo>
                      <a:pt x="2" y="92"/>
                      <a:pt x="0" y="90"/>
                      <a:pt x="0" y="88"/>
                    </a:cubicBezTo>
                    <a:cubicBezTo>
                      <a:pt x="0" y="4"/>
                      <a:pt x="0" y="4"/>
                      <a:pt x="0" y="4"/>
                    </a:cubicBezTo>
                    <a:cubicBezTo>
                      <a:pt x="0" y="2"/>
                      <a:pt x="2" y="0"/>
                      <a:pt x="4" y="0"/>
                    </a:cubicBezTo>
                    <a:cubicBezTo>
                      <a:pt x="36" y="0"/>
                      <a:pt x="36" y="0"/>
                      <a:pt x="36" y="0"/>
                    </a:cubicBezTo>
                    <a:cubicBezTo>
                      <a:pt x="38" y="0"/>
                      <a:pt x="40" y="2"/>
                      <a:pt x="40" y="4"/>
                    </a:cubicBezTo>
                    <a:cubicBezTo>
                      <a:pt x="40" y="88"/>
                      <a:pt x="40" y="88"/>
                      <a:pt x="40" y="88"/>
                    </a:cubicBezTo>
                    <a:cubicBezTo>
                      <a:pt x="40" y="90"/>
                      <a:pt x="38" y="92"/>
                      <a:pt x="36" y="92"/>
                    </a:cubicBezTo>
                    <a:close/>
                    <a:moveTo>
                      <a:pt x="8" y="84"/>
                    </a:moveTo>
                    <a:cubicBezTo>
                      <a:pt x="32" y="84"/>
                      <a:pt x="32" y="84"/>
                      <a:pt x="32" y="84"/>
                    </a:cubicBezTo>
                    <a:cubicBezTo>
                      <a:pt x="32" y="8"/>
                      <a:pt x="32" y="8"/>
                      <a:pt x="32" y="8"/>
                    </a:cubicBezTo>
                    <a:cubicBezTo>
                      <a:pt x="8" y="8"/>
                      <a:pt x="8" y="8"/>
                      <a:pt x="8" y="8"/>
                    </a:cubicBezTo>
                    <a:lnTo>
                      <a:pt x="8" y="84"/>
                    </a:lnTo>
                    <a:close/>
                  </a:path>
                </a:pathLst>
              </a:custGeom>
              <a:solidFill>
                <a:srgbClr val="0078D7"/>
              </a:solidFill>
              <a:ln w="9525">
                <a:solidFill>
                  <a:srgbClr val="0078D7"/>
                </a:solidFill>
                <a:round/>
                <a:headEnd/>
                <a:tailEnd/>
              </a:ln>
            </p:spPr>
            <p:txBody>
              <a:bodyPr vert="horz" wrap="square" lIns="89631" tIns="44815" rIns="89631" bIns="44815" numCol="1" anchor="t" anchorCtr="0" compatLnSpc="1">
                <a:prstTxWarp prst="textNoShape">
                  <a:avLst/>
                </a:prstTxWarp>
              </a:bodyPr>
              <a:lstStyle/>
              <a:p>
                <a:pPr defTabSz="896386">
                  <a:defRPr/>
                </a:pPr>
                <a:endParaRPr lang="en-US" sz="1765" kern="0">
                  <a:solidFill>
                    <a:srgbClr val="353535"/>
                  </a:solidFill>
                </a:endParaRPr>
              </a:p>
            </p:txBody>
          </p:sp>
          <p:sp>
            <p:nvSpPr>
              <p:cNvPr id="252" name="Freeform 9">
                <a:extLst>
                  <a:ext uri="{FF2B5EF4-FFF2-40B4-BE49-F238E27FC236}">
                    <a16:creationId xmlns:a16="http://schemas.microsoft.com/office/drawing/2014/main" id="{BC547C0A-4B20-4F44-9BA8-CCD84A901298}"/>
                  </a:ext>
                </a:extLst>
              </p:cNvPr>
              <p:cNvSpPr>
                <a:spLocks noEditPoints="1"/>
              </p:cNvSpPr>
              <p:nvPr/>
            </p:nvSpPr>
            <p:spPr bwMode="auto">
              <a:xfrm>
                <a:off x="949" y="250"/>
                <a:ext cx="96" cy="489"/>
              </a:xfrm>
              <a:custGeom>
                <a:avLst/>
                <a:gdLst>
                  <a:gd name="T0" fmla="*/ 36 w 40"/>
                  <a:gd name="T1" fmla="*/ 204 h 204"/>
                  <a:gd name="T2" fmla="*/ 4 w 40"/>
                  <a:gd name="T3" fmla="*/ 204 h 204"/>
                  <a:gd name="T4" fmla="*/ 0 w 40"/>
                  <a:gd name="T5" fmla="*/ 200 h 204"/>
                  <a:gd name="T6" fmla="*/ 0 w 40"/>
                  <a:gd name="T7" fmla="*/ 4 h 204"/>
                  <a:gd name="T8" fmla="*/ 4 w 40"/>
                  <a:gd name="T9" fmla="*/ 0 h 204"/>
                  <a:gd name="T10" fmla="*/ 36 w 40"/>
                  <a:gd name="T11" fmla="*/ 0 h 204"/>
                  <a:gd name="T12" fmla="*/ 40 w 40"/>
                  <a:gd name="T13" fmla="*/ 4 h 204"/>
                  <a:gd name="T14" fmla="*/ 40 w 40"/>
                  <a:gd name="T15" fmla="*/ 200 h 204"/>
                  <a:gd name="T16" fmla="*/ 36 w 40"/>
                  <a:gd name="T17" fmla="*/ 204 h 204"/>
                  <a:gd name="T18" fmla="*/ 8 w 40"/>
                  <a:gd name="T19" fmla="*/ 196 h 204"/>
                  <a:gd name="T20" fmla="*/ 32 w 40"/>
                  <a:gd name="T21" fmla="*/ 196 h 204"/>
                  <a:gd name="T22" fmla="*/ 32 w 40"/>
                  <a:gd name="T23" fmla="*/ 8 h 204"/>
                  <a:gd name="T24" fmla="*/ 8 w 40"/>
                  <a:gd name="T25" fmla="*/ 8 h 204"/>
                  <a:gd name="T26" fmla="*/ 8 w 40"/>
                  <a:gd name="T27"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4">
                    <a:moveTo>
                      <a:pt x="36" y="204"/>
                    </a:moveTo>
                    <a:cubicBezTo>
                      <a:pt x="4" y="204"/>
                      <a:pt x="4" y="204"/>
                      <a:pt x="4" y="204"/>
                    </a:cubicBezTo>
                    <a:cubicBezTo>
                      <a:pt x="2" y="204"/>
                      <a:pt x="0" y="202"/>
                      <a:pt x="0" y="200"/>
                    </a:cubicBezTo>
                    <a:cubicBezTo>
                      <a:pt x="0" y="4"/>
                      <a:pt x="0" y="4"/>
                      <a:pt x="0" y="4"/>
                    </a:cubicBezTo>
                    <a:cubicBezTo>
                      <a:pt x="0" y="2"/>
                      <a:pt x="2" y="0"/>
                      <a:pt x="4" y="0"/>
                    </a:cubicBezTo>
                    <a:cubicBezTo>
                      <a:pt x="36" y="0"/>
                      <a:pt x="36" y="0"/>
                      <a:pt x="36" y="0"/>
                    </a:cubicBezTo>
                    <a:cubicBezTo>
                      <a:pt x="38" y="0"/>
                      <a:pt x="40" y="2"/>
                      <a:pt x="40" y="4"/>
                    </a:cubicBezTo>
                    <a:cubicBezTo>
                      <a:pt x="40" y="200"/>
                      <a:pt x="40" y="200"/>
                      <a:pt x="40" y="200"/>
                    </a:cubicBezTo>
                    <a:cubicBezTo>
                      <a:pt x="40" y="202"/>
                      <a:pt x="38" y="204"/>
                      <a:pt x="36" y="204"/>
                    </a:cubicBezTo>
                    <a:close/>
                    <a:moveTo>
                      <a:pt x="8" y="196"/>
                    </a:moveTo>
                    <a:cubicBezTo>
                      <a:pt x="32" y="196"/>
                      <a:pt x="32" y="196"/>
                      <a:pt x="32" y="196"/>
                    </a:cubicBezTo>
                    <a:cubicBezTo>
                      <a:pt x="32" y="8"/>
                      <a:pt x="32" y="8"/>
                      <a:pt x="32" y="8"/>
                    </a:cubicBezTo>
                    <a:cubicBezTo>
                      <a:pt x="8" y="8"/>
                      <a:pt x="8" y="8"/>
                      <a:pt x="8" y="8"/>
                    </a:cubicBezTo>
                    <a:lnTo>
                      <a:pt x="8" y="196"/>
                    </a:lnTo>
                    <a:close/>
                  </a:path>
                </a:pathLst>
              </a:custGeom>
              <a:grpFill/>
              <a:ln w="9525">
                <a:solidFill>
                  <a:srgbClr val="0078D7"/>
                </a:solidFill>
                <a:round/>
                <a:headEnd/>
                <a:tailEnd/>
              </a:ln>
            </p:spPr>
            <p:txBody>
              <a:bodyPr vert="horz" wrap="square" lIns="89631" tIns="44815" rIns="89631" bIns="44815" numCol="1" anchor="t" anchorCtr="0" compatLnSpc="1">
                <a:prstTxWarp prst="textNoShape">
                  <a:avLst/>
                </a:prstTxWarp>
              </a:bodyPr>
              <a:lstStyle/>
              <a:p>
                <a:pPr defTabSz="896386">
                  <a:defRPr/>
                </a:pPr>
                <a:endParaRPr lang="en-US" sz="1765" kern="0">
                  <a:solidFill>
                    <a:srgbClr val="353535"/>
                  </a:solidFill>
                </a:endParaRPr>
              </a:p>
            </p:txBody>
          </p:sp>
        </p:grpSp>
      </p:grpSp>
      <p:grpSp>
        <p:nvGrpSpPr>
          <p:cNvPr id="260" name="Group 259">
            <a:extLst>
              <a:ext uri="{FF2B5EF4-FFF2-40B4-BE49-F238E27FC236}">
                <a16:creationId xmlns:a16="http://schemas.microsoft.com/office/drawing/2014/main" id="{1C59ED55-66A6-42F0-80E6-C20D767C557C}"/>
              </a:ext>
            </a:extLst>
          </p:cNvPr>
          <p:cNvGrpSpPr/>
          <p:nvPr/>
        </p:nvGrpSpPr>
        <p:grpSpPr>
          <a:xfrm>
            <a:off x="6243314" y="4557629"/>
            <a:ext cx="1652783" cy="897190"/>
            <a:chOff x="6389213" y="4342652"/>
            <a:chExt cx="1685925" cy="915181"/>
          </a:xfrm>
        </p:grpSpPr>
        <p:sp>
          <p:nvSpPr>
            <p:cNvPr id="261" name="TextBox 260">
              <a:extLst>
                <a:ext uri="{FF2B5EF4-FFF2-40B4-BE49-F238E27FC236}">
                  <a16:creationId xmlns:a16="http://schemas.microsoft.com/office/drawing/2014/main" id="{FC160C47-9244-4B86-ABE7-74511542AC87}"/>
                </a:ext>
              </a:extLst>
            </p:cNvPr>
            <p:cNvSpPr txBox="1"/>
            <p:nvPr/>
          </p:nvSpPr>
          <p:spPr>
            <a:xfrm>
              <a:off x="6389213" y="4609354"/>
              <a:ext cx="1685925" cy="608444"/>
            </a:xfrm>
            <a:prstGeom prst="rect">
              <a:avLst/>
            </a:prstGeom>
            <a:noFill/>
            <a:ln w="38100" cap="flat" cmpd="sng" algn="ctr">
              <a:no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896386">
                <a:defRPr/>
              </a:pPr>
              <a:endParaRPr lang="en-US" sz="1372" kern="0" cap="all">
                <a:solidFill>
                  <a:srgbClr val="353535">
                    <a:lumMod val="85000"/>
                    <a:lumOff val="15000"/>
                  </a:srgbClr>
                </a:solidFill>
                <a:latin typeface="Segoe UI Semilight"/>
              </a:endParaRPr>
            </a:p>
          </p:txBody>
        </p:sp>
        <p:sp>
          <p:nvSpPr>
            <p:cNvPr id="262" name="TextBox 261">
              <a:extLst>
                <a:ext uri="{FF2B5EF4-FFF2-40B4-BE49-F238E27FC236}">
                  <a16:creationId xmlns:a16="http://schemas.microsoft.com/office/drawing/2014/main" id="{C837A818-A9D3-45BF-A487-76415D398BAC}"/>
                </a:ext>
              </a:extLst>
            </p:cNvPr>
            <p:cNvSpPr txBox="1"/>
            <p:nvPr/>
          </p:nvSpPr>
          <p:spPr>
            <a:xfrm>
              <a:off x="6682353" y="4826946"/>
              <a:ext cx="1171101" cy="430887"/>
            </a:xfrm>
            <a:prstGeom prst="rect">
              <a:avLst/>
            </a:prstGeom>
            <a:noFill/>
            <a:ln>
              <a:noFill/>
            </a:ln>
          </p:spPr>
          <p:txBody>
            <a:bodyPr wrap="square" rtlCol="0">
              <a:spAutoFit/>
            </a:bodyPr>
            <a:lstStyle/>
            <a:p>
              <a:pPr defTabSz="896386">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xport to Excel </a:t>
              </a:r>
              <a:b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Power BI</a:t>
              </a:r>
            </a:p>
          </p:txBody>
        </p:sp>
        <p:cxnSp>
          <p:nvCxnSpPr>
            <p:cNvPr id="263" name="Straight Connector 262">
              <a:extLst>
                <a:ext uri="{FF2B5EF4-FFF2-40B4-BE49-F238E27FC236}">
                  <a16:creationId xmlns:a16="http://schemas.microsoft.com/office/drawing/2014/main" id="{7E6813C2-BFFC-4C6A-A8CE-7D1AED94765B}"/>
                </a:ext>
              </a:extLst>
            </p:cNvPr>
            <p:cNvCxnSpPr>
              <a:cxnSpLocks/>
            </p:cNvCxnSpPr>
            <p:nvPr/>
          </p:nvCxnSpPr>
          <p:spPr>
            <a:xfrm>
              <a:off x="7153308" y="4342652"/>
              <a:ext cx="0" cy="488811"/>
            </a:xfrm>
            <a:prstGeom prst="line">
              <a:avLst/>
            </a:prstGeom>
            <a:noFill/>
            <a:ln w="38100" cap="flat" cmpd="sng" algn="ctr">
              <a:solidFill>
                <a:srgbClr val="E6E6E6">
                  <a:lumMod val="50000"/>
                </a:srgbClr>
              </a:solidFill>
              <a:prstDash val="solid"/>
              <a:headEnd type="none" w="med" len="med"/>
              <a:tailEnd type="triangle" w="med" len="sm"/>
            </a:ln>
            <a:effectLst/>
          </p:spPr>
        </p:cxnSp>
        <p:sp>
          <p:nvSpPr>
            <p:cNvPr id="264" name="arrow_3">
              <a:extLst>
                <a:ext uri="{FF2B5EF4-FFF2-40B4-BE49-F238E27FC236}">
                  <a16:creationId xmlns:a16="http://schemas.microsoft.com/office/drawing/2014/main" id="{F3FB1A79-F1F1-4F3B-88B3-634C1A4765CD}"/>
                </a:ext>
              </a:extLst>
            </p:cNvPr>
            <p:cNvSpPr>
              <a:spLocks noChangeAspect="1" noEditPoints="1"/>
            </p:cNvSpPr>
            <p:nvPr/>
          </p:nvSpPr>
          <p:spPr bwMode="auto">
            <a:xfrm>
              <a:off x="6533088" y="4913855"/>
              <a:ext cx="149265" cy="257067"/>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kern="0">
                <a:gradFill>
                  <a:gsLst>
                    <a:gs pos="0">
                      <a:srgbClr val="505050"/>
                    </a:gs>
                    <a:gs pos="100000">
                      <a:srgbClr val="505050"/>
                    </a:gs>
                  </a:gsLst>
                  <a:lin ang="5400000" scaled="1"/>
                </a:gradFill>
              </a:endParaRPr>
            </a:p>
          </p:txBody>
        </p:sp>
      </p:grpSp>
      <p:grpSp>
        <p:nvGrpSpPr>
          <p:cNvPr id="265" name="Group 264">
            <a:extLst>
              <a:ext uri="{FF2B5EF4-FFF2-40B4-BE49-F238E27FC236}">
                <a16:creationId xmlns:a16="http://schemas.microsoft.com/office/drawing/2014/main" id="{37D582E0-8968-48F2-BB63-BAAB0CCA8055}"/>
              </a:ext>
            </a:extLst>
          </p:cNvPr>
          <p:cNvGrpSpPr/>
          <p:nvPr/>
        </p:nvGrpSpPr>
        <p:grpSpPr>
          <a:xfrm>
            <a:off x="2136713" y="3321987"/>
            <a:ext cx="6166329" cy="1303504"/>
            <a:chOff x="2139057" y="3002167"/>
            <a:chExt cx="6289977" cy="1329642"/>
          </a:xfrm>
        </p:grpSpPr>
        <p:grpSp>
          <p:nvGrpSpPr>
            <p:cNvPr id="266" name="Group 265">
              <a:extLst>
                <a:ext uri="{FF2B5EF4-FFF2-40B4-BE49-F238E27FC236}">
                  <a16:creationId xmlns:a16="http://schemas.microsoft.com/office/drawing/2014/main" id="{A3910D06-A934-4147-9F9B-FB1177D854CA}"/>
                </a:ext>
              </a:extLst>
            </p:cNvPr>
            <p:cNvGrpSpPr/>
            <p:nvPr/>
          </p:nvGrpSpPr>
          <p:grpSpPr>
            <a:xfrm>
              <a:off x="2139057" y="3002167"/>
              <a:ext cx="6289977" cy="1329642"/>
              <a:chOff x="2139057" y="3002167"/>
              <a:chExt cx="6289977" cy="1329642"/>
            </a:xfrm>
          </p:grpSpPr>
          <p:sp>
            <p:nvSpPr>
              <p:cNvPr id="268" name="Rectangle 267">
                <a:extLst>
                  <a:ext uri="{FF2B5EF4-FFF2-40B4-BE49-F238E27FC236}">
                    <a16:creationId xmlns:a16="http://schemas.microsoft.com/office/drawing/2014/main" id="{C7B5E9A8-5EC8-45D9-9FD2-1D23E1CE9174}"/>
                  </a:ext>
                </a:extLst>
              </p:cNvPr>
              <p:cNvSpPr/>
              <p:nvPr/>
            </p:nvSpPr>
            <p:spPr>
              <a:xfrm>
                <a:off x="3484684" y="3362016"/>
                <a:ext cx="1656252" cy="600164"/>
              </a:xfrm>
              <a:prstGeom prst="rect">
                <a:avLst/>
              </a:prstGeom>
            </p:spPr>
            <p:txBody>
              <a:bodyPr wrap="square">
                <a:spAutoFit/>
              </a:bodyPr>
              <a:lstStyle/>
              <a:p>
                <a:pPr defTabSz="1117679" fontAlgn="base">
                  <a:spcAft>
                    <a:spcPct val="0"/>
                  </a:spcAft>
                  <a:defRPr/>
                </a:pPr>
                <a: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NORMALIZATION </a:t>
                </a:r>
                <a:b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br>
                <a: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amp; ENRICHMENT</a:t>
                </a:r>
                <a:b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br>
                <a:r>
                  <a:rPr lang="en-US" sz="1078" kern="0" dirty="0">
                    <a:ln>
                      <a:solidFill>
                        <a:srgbClr val="FFFFFF">
                          <a:alpha val="0"/>
                        </a:srgbClr>
                      </a:solidFill>
                    </a:ln>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IP Geotagging, …</a:t>
                </a:r>
                <a:endParaRPr lang="en-US" sz="1078"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endParaRPr>
              </a:p>
            </p:txBody>
          </p:sp>
          <p:cxnSp>
            <p:nvCxnSpPr>
              <p:cNvPr id="269" name="Straight Connector 268">
                <a:extLst>
                  <a:ext uri="{FF2B5EF4-FFF2-40B4-BE49-F238E27FC236}">
                    <a16:creationId xmlns:a16="http://schemas.microsoft.com/office/drawing/2014/main" id="{2FEAD7F7-3A99-4BB8-BE2B-41A766BBE4A1}"/>
                  </a:ext>
                </a:extLst>
              </p:cNvPr>
              <p:cNvCxnSpPr>
                <a:cxnSpLocks/>
                <a:stCxn id="287" idx="3"/>
              </p:cNvCxnSpPr>
              <p:nvPr/>
            </p:nvCxnSpPr>
            <p:spPr>
              <a:xfrm flipV="1">
                <a:off x="2139057" y="3530161"/>
                <a:ext cx="1231138" cy="161669"/>
              </a:xfrm>
              <a:prstGeom prst="line">
                <a:avLst/>
              </a:prstGeom>
              <a:noFill/>
              <a:ln w="38100" cap="flat" cmpd="sng" algn="ctr">
                <a:solidFill>
                  <a:srgbClr val="E6E6E6">
                    <a:lumMod val="50000"/>
                  </a:srgbClr>
                </a:solidFill>
                <a:prstDash val="solid"/>
                <a:headEnd type="none" w="med" len="med"/>
                <a:tailEnd type="triangle" w="med" len="sm"/>
              </a:ln>
              <a:effectLst/>
            </p:spPr>
          </p:cxnSp>
          <p:grpSp>
            <p:nvGrpSpPr>
              <p:cNvPr id="270" name="Group 269">
                <a:extLst>
                  <a:ext uri="{FF2B5EF4-FFF2-40B4-BE49-F238E27FC236}">
                    <a16:creationId xmlns:a16="http://schemas.microsoft.com/office/drawing/2014/main" id="{6B97E5E8-34D9-4CA9-AF6F-7BB6FDCE507C}"/>
                  </a:ext>
                </a:extLst>
              </p:cNvPr>
              <p:cNvGrpSpPr/>
              <p:nvPr/>
            </p:nvGrpSpPr>
            <p:grpSpPr>
              <a:xfrm>
                <a:off x="6052345" y="3002167"/>
                <a:ext cx="2376689" cy="1329642"/>
                <a:chOff x="4418498" y="5280602"/>
                <a:chExt cx="2376689" cy="1329642"/>
              </a:xfrm>
            </p:grpSpPr>
            <p:sp>
              <p:nvSpPr>
                <p:cNvPr id="272" name="Freeform 95">
                  <a:extLst>
                    <a:ext uri="{FF2B5EF4-FFF2-40B4-BE49-F238E27FC236}">
                      <a16:creationId xmlns:a16="http://schemas.microsoft.com/office/drawing/2014/main" id="{3DB56CE6-4A47-4823-B162-701AD3135C79}"/>
                    </a:ext>
                  </a:extLst>
                </p:cNvPr>
                <p:cNvSpPr>
                  <a:spLocks/>
                </p:cNvSpPr>
                <p:nvPr/>
              </p:nvSpPr>
              <p:spPr bwMode="auto">
                <a:xfrm flipH="1">
                  <a:off x="4418498" y="5280602"/>
                  <a:ext cx="2240096" cy="13296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w="38100">
                  <a:noFill/>
                  <a:round/>
                  <a:headEnd/>
                  <a:tailEnd/>
                </a:ln>
              </p:spPr>
              <p:txBody>
                <a:bodyPr vert="horz" wrap="square" lIns="91388" tIns="45694" rIns="91388" bIns="45694" numCol="1" anchor="t" anchorCtr="0" compatLnSpc="1">
                  <a:prstTxWarp prst="textNoShape">
                    <a:avLst/>
                  </a:prstTxWarp>
                </a:bodyPr>
                <a:lstStyle/>
                <a:p>
                  <a:pPr defTabSz="913698">
                    <a:defRPr/>
                  </a:pPr>
                  <a:endParaRPr lang="en-US" kern="0">
                    <a:solidFill>
                      <a:srgbClr val="505050"/>
                    </a:solidFill>
                    <a:latin typeface="Segoe UI"/>
                  </a:endParaRPr>
                </a:p>
              </p:txBody>
            </p:sp>
            <p:sp>
              <p:nvSpPr>
                <p:cNvPr id="273" name="Rectangle 272">
                  <a:extLst>
                    <a:ext uri="{FF2B5EF4-FFF2-40B4-BE49-F238E27FC236}">
                      <a16:creationId xmlns:a16="http://schemas.microsoft.com/office/drawing/2014/main" id="{124C7D15-BCDD-421F-B046-EB33AF4B099D}"/>
                    </a:ext>
                  </a:extLst>
                </p:cNvPr>
                <p:cNvSpPr/>
                <p:nvPr/>
              </p:nvSpPr>
              <p:spPr>
                <a:xfrm>
                  <a:off x="4614232" y="6091521"/>
                  <a:ext cx="2180955" cy="430887"/>
                </a:xfrm>
                <a:prstGeom prst="rect">
                  <a:avLst/>
                </a:prstGeom>
                <a:ln>
                  <a:noFill/>
                </a:ln>
              </p:spPr>
              <p:txBody>
                <a:bodyPr wrap="square">
                  <a:spAutoFit/>
                </a:bodyPr>
                <a:lstStyle/>
                <a:p>
                  <a:pPr defTabSz="1117679" fontAlgn="base">
                    <a:spcAft>
                      <a:spcPct val="0"/>
                    </a:spcAft>
                    <a:defRPr/>
                  </a:pPr>
                  <a:r>
                    <a:rPr lang="en-US" sz="1078" b="1" kern="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SCALABLE LOG ANALYTICS</a:t>
                  </a:r>
                </a:p>
                <a:p>
                  <a:pPr defTabSz="1117679" fontAlgn="base">
                    <a:spcAft>
                      <a:spcPct val="0"/>
                    </a:spcAft>
                    <a:defRPr/>
                  </a:pPr>
                  <a:r>
                    <a:rPr lang="en-US" sz="1078" b="1" kern="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PLATFORM</a:t>
                  </a:r>
                </a:p>
              </p:txBody>
            </p:sp>
          </p:grpSp>
          <p:cxnSp>
            <p:nvCxnSpPr>
              <p:cNvPr id="271" name="Straight Connector 270">
                <a:extLst>
                  <a:ext uri="{FF2B5EF4-FFF2-40B4-BE49-F238E27FC236}">
                    <a16:creationId xmlns:a16="http://schemas.microsoft.com/office/drawing/2014/main" id="{C187CB89-0889-49B4-8CE3-889CCE3A5364}"/>
                  </a:ext>
                </a:extLst>
              </p:cNvPr>
              <p:cNvCxnSpPr>
                <a:cxnSpLocks/>
              </p:cNvCxnSpPr>
              <p:nvPr/>
            </p:nvCxnSpPr>
            <p:spPr>
              <a:xfrm>
                <a:off x="5247881" y="3764896"/>
                <a:ext cx="825089" cy="0"/>
              </a:xfrm>
              <a:prstGeom prst="line">
                <a:avLst/>
              </a:prstGeom>
              <a:noFill/>
              <a:ln w="38100" cap="flat" cmpd="sng" algn="ctr">
                <a:solidFill>
                  <a:srgbClr val="E6E6E6">
                    <a:lumMod val="50000"/>
                  </a:srgbClr>
                </a:solidFill>
                <a:prstDash val="solid"/>
                <a:headEnd type="none" w="med" len="med"/>
                <a:tailEnd type="triangle" w="med" len="sm"/>
              </a:ln>
              <a:effectLst/>
            </p:spPr>
          </p:cxnSp>
        </p:grpSp>
        <p:pic>
          <p:nvPicPr>
            <p:cNvPr id="267" name="Picture 266">
              <a:extLst>
                <a:ext uri="{FF2B5EF4-FFF2-40B4-BE49-F238E27FC236}">
                  <a16:creationId xmlns:a16="http://schemas.microsoft.com/office/drawing/2014/main" id="{B3C2362E-A8E3-40E8-8CDA-188A9221FA33}"/>
                </a:ext>
              </a:extLst>
            </p:cNvPr>
            <p:cNvPicPr>
              <a:picLocks noChangeAspect="1"/>
            </p:cNvPicPr>
            <p:nvPr/>
          </p:nvPicPr>
          <p:blipFill>
            <a:blip r:embed="rId7">
              <a:duotone>
                <a:srgbClr val="0078D7">
                  <a:shade val="45000"/>
                  <a:satMod val="135000"/>
                </a:srgbClr>
                <a:prstClr val="white"/>
              </a:duotone>
            </a:blip>
            <a:stretch>
              <a:fillRect/>
            </a:stretch>
          </p:blipFill>
          <p:spPr>
            <a:xfrm>
              <a:off x="6860224" y="3278757"/>
              <a:ext cx="470166" cy="470166"/>
            </a:xfrm>
            <a:prstGeom prst="rect">
              <a:avLst/>
            </a:prstGeom>
            <a:ln>
              <a:noFill/>
            </a:ln>
          </p:spPr>
        </p:pic>
      </p:grpSp>
      <p:grpSp>
        <p:nvGrpSpPr>
          <p:cNvPr id="274" name="Group 273">
            <a:extLst>
              <a:ext uri="{FF2B5EF4-FFF2-40B4-BE49-F238E27FC236}">
                <a16:creationId xmlns:a16="http://schemas.microsoft.com/office/drawing/2014/main" id="{ACAC33D2-CAA7-46E0-8B01-6214DAEFA78E}"/>
              </a:ext>
            </a:extLst>
          </p:cNvPr>
          <p:cNvGrpSpPr/>
          <p:nvPr/>
        </p:nvGrpSpPr>
        <p:grpSpPr>
          <a:xfrm>
            <a:off x="297280" y="1223046"/>
            <a:ext cx="2968466" cy="5525253"/>
            <a:chOff x="303319" y="1089632"/>
            <a:chExt cx="3027990" cy="5636046"/>
          </a:xfrm>
        </p:grpSpPr>
        <p:grpSp>
          <p:nvGrpSpPr>
            <p:cNvPr id="275" name="Group 274">
              <a:extLst>
                <a:ext uri="{FF2B5EF4-FFF2-40B4-BE49-F238E27FC236}">
                  <a16:creationId xmlns:a16="http://schemas.microsoft.com/office/drawing/2014/main" id="{2BE2D1B2-E76B-4906-9615-03BC457DFF44}"/>
                </a:ext>
              </a:extLst>
            </p:cNvPr>
            <p:cNvGrpSpPr/>
            <p:nvPr/>
          </p:nvGrpSpPr>
          <p:grpSpPr>
            <a:xfrm>
              <a:off x="303319" y="1089632"/>
              <a:ext cx="3027990" cy="5636046"/>
              <a:chOff x="303319" y="1089632"/>
              <a:chExt cx="3027990" cy="5636046"/>
            </a:xfrm>
          </p:grpSpPr>
          <p:sp>
            <p:nvSpPr>
              <p:cNvPr id="278" name="Freeform 95">
                <a:extLst>
                  <a:ext uri="{FF2B5EF4-FFF2-40B4-BE49-F238E27FC236}">
                    <a16:creationId xmlns:a16="http://schemas.microsoft.com/office/drawing/2014/main" id="{585B7718-F099-45B8-9B6E-5113E3FA6DB1}"/>
                  </a:ext>
                </a:extLst>
              </p:cNvPr>
              <p:cNvSpPr>
                <a:spLocks/>
              </p:cNvSpPr>
              <p:nvPr/>
            </p:nvSpPr>
            <p:spPr bwMode="auto">
              <a:xfrm flipH="1">
                <a:off x="303319" y="1089632"/>
                <a:ext cx="2900212" cy="178812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7"/>
              </a:solidFill>
              <a:ln w="38100">
                <a:solidFill>
                  <a:srgbClr val="0078D7"/>
                </a:solidFill>
                <a:round/>
                <a:headEnd/>
                <a:tailEnd/>
              </a:ln>
            </p:spPr>
            <p:txBody>
              <a:bodyPr vert="horz" wrap="square" lIns="91388" tIns="45694" rIns="91388" bIns="45694" numCol="1" anchor="t" anchorCtr="0" compatLnSpc="1">
                <a:prstTxWarp prst="textNoShape">
                  <a:avLst/>
                </a:prstTxWarp>
              </a:bodyPr>
              <a:lstStyle/>
              <a:p>
                <a:pPr defTabSz="913698">
                  <a:defRPr/>
                </a:pPr>
                <a:endParaRPr lang="en-US" kern="0">
                  <a:solidFill>
                    <a:srgbClr val="505050"/>
                  </a:solidFill>
                  <a:latin typeface="Segoe UI"/>
                </a:endParaRPr>
              </a:p>
            </p:txBody>
          </p:sp>
          <p:grpSp>
            <p:nvGrpSpPr>
              <p:cNvPr id="279" name="Group 278">
                <a:extLst>
                  <a:ext uri="{FF2B5EF4-FFF2-40B4-BE49-F238E27FC236}">
                    <a16:creationId xmlns:a16="http://schemas.microsoft.com/office/drawing/2014/main" id="{E2CDCFDD-033F-4241-89E7-9528F52C8691}"/>
                  </a:ext>
                </a:extLst>
              </p:cNvPr>
              <p:cNvGrpSpPr/>
              <p:nvPr/>
            </p:nvGrpSpPr>
            <p:grpSpPr>
              <a:xfrm>
                <a:off x="1140713" y="2361499"/>
                <a:ext cx="461215" cy="461215"/>
                <a:chOff x="2789237" y="1642042"/>
                <a:chExt cx="461215" cy="461215"/>
              </a:xfrm>
            </p:grpSpPr>
            <p:sp>
              <p:nvSpPr>
                <p:cNvPr id="307" name="Rectangle 306">
                  <a:extLst>
                    <a:ext uri="{FF2B5EF4-FFF2-40B4-BE49-F238E27FC236}">
                      <a16:creationId xmlns:a16="http://schemas.microsoft.com/office/drawing/2014/main" id="{DEFD094A-86DA-4254-9804-363596B2A453}"/>
                    </a:ext>
                  </a:extLst>
                </p:cNvPr>
                <p:cNvSpPr/>
                <p:nvPr/>
              </p:nvSpPr>
              <p:spPr>
                <a:xfrm>
                  <a:off x="2789237" y="1642042"/>
                  <a:ext cx="461215" cy="461215"/>
                </a:xfrm>
                <a:prstGeom prst="rect">
                  <a:avLst/>
                </a:prstGeom>
                <a:solidFill>
                  <a:srgbClr val="0072C6"/>
                </a:solidFill>
                <a:ln w="10795" cap="flat" cmpd="sng" algn="ctr">
                  <a:noFill/>
                  <a:prstDash val="solid"/>
                </a:ln>
                <a:effectLst/>
              </p:spPr>
              <p:txBody>
                <a:bodyPr rtlCol="0" anchor="ctr"/>
                <a:lstStyle/>
                <a:p>
                  <a:pPr algn="ctr" defTabSz="913698">
                    <a:defRPr/>
                  </a:pPr>
                  <a:endParaRPr lang="en-US" kern="0">
                    <a:solidFill>
                      <a:prstClr val="white"/>
                    </a:solidFill>
                    <a:latin typeface="Segoe UI"/>
                  </a:endParaRPr>
                </a:p>
              </p:txBody>
            </p:sp>
            <p:pic>
              <p:nvPicPr>
                <p:cNvPr id="308" name="Picture 31">
                  <a:extLst>
                    <a:ext uri="{FF2B5EF4-FFF2-40B4-BE49-F238E27FC236}">
                      <a16:creationId xmlns:a16="http://schemas.microsoft.com/office/drawing/2014/main" id="{60881100-881E-4ED2-ABDE-35BCB38A644E}"/>
                    </a:ext>
                  </a:extLst>
                </p:cNvPr>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2822472" y="1744240"/>
                  <a:ext cx="424515" cy="27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0" name="Rectangle 279">
                <a:extLst>
                  <a:ext uri="{FF2B5EF4-FFF2-40B4-BE49-F238E27FC236}">
                    <a16:creationId xmlns:a16="http://schemas.microsoft.com/office/drawing/2014/main" id="{94B5DD20-D55A-4592-A52B-899CD194BA1D}"/>
                  </a:ext>
                </a:extLst>
              </p:cNvPr>
              <p:cNvSpPr/>
              <p:nvPr/>
            </p:nvSpPr>
            <p:spPr>
              <a:xfrm>
                <a:off x="374562" y="1371519"/>
                <a:ext cx="1497939" cy="215444"/>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defTabSz="1117679" fontAlgn="base">
                  <a:spcAft>
                    <a:spcPct val="0"/>
                  </a:spcAft>
                  <a:defRPr/>
                </a:pPr>
                <a:r>
                  <a:rPr lang="en-US" sz="1372" b="1">
                    <a:ln>
                      <a:solidFill>
                        <a:srgbClr val="FFFFFF">
                          <a:alpha val="0"/>
                        </a:srgbClr>
                      </a:solidFill>
                    </a:ln>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ZURE</a:t>
                </a:r>
              </a:p>
            </p:txBody>
          </p:sp>
          <p:sp>
            <p:nvSpPr>
              <p:cNvPr id="281" name="Rectangle 280">
                <a:extLst>
                  <a:ext uri="{FF2B5EF4-FFF2-40B4-BE49-F238E27FC236}">
                    <a16:creationId xmlns:a16="http://schemas.microsoft.com/office/drawing/2014/main" id="{9795A6C2-62A0-40EA-A8D3-B355C28F289D}"/>
                  </a:ext>
                </a:extLst>
              </p:cNvPr>
              <p:cNvSpPr/>
              <p:nvPr/>
            </p:nvSpPr>
            <p:spPr bwMode="auto">
              <a:xfrm>
                <a:off x="464950" y="1719928"/>
                <a:ext cx="1212822" cy="1243934"/>
              </a:xfrm>
              <a:prstGeom prst="rect">
                <a:avLst/>
              </a:prstGeom>
              <a:solidFill>
                <a:srgbClr val="FFFFFF"/>
              </a:solidFill>
              <a:ln w="3810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82" name="Group 281">
                <a:extLst>
                  <a:ext uri="{FF2B5EF4-FFF2-40B4-BE49-F238E27FC236}">
                    <a16:creationId xmlns:a16="http://schemas.microsoft.com/office/drawing/2014/main" id="{D873632D-25F2-4D96-92C0-F444A9DC3FB6}"/>
                  </a:ext>
                </a:extLst>
              </p:cNvPr>
              <p:cNvGrpSpPr/>
              <p:nvPr/>
            </p:nvGrpSpPr>
            <p:grpSpPr>
              <a:xfrm>
                <a:off x="1084938" y="1896678"/>
                <a:ext cx="501577" cy="457708"/>
                <a:chOff x="6251144" y="971379"/>
                <a:chExt cx="2438400" cy="2225132"/>
              </a:xfrm>
            </p:grpSpPr>
            <p:sp>
              <p:nvSpPr>
                <p:cNvPr id="305" name="Freeform 5">
                  <a:extLst>
                    <a:ext uri="{FF2B5EF4-FFF2-40B4-BE49-F238E27FC236}">
                      <a16:creationId xmlns:a16="http://schemas.microsoft.com/office/drawing/2014/main" id="{C78E2F56-96F6-4CC2-A7C2-1898A8C78C3A}"/>
                    </a:ext>
                  </a:extLst>
                </p:cNvPr>
                <p:cNvSpPr>
                  <a:spLocks noEditPoints="1"/>
                </p:cNvSpPr>
                <p:nvPr/>
              </p:nvSpPr>
              <p:spPr bwMode="auto">
                <a:xfrm>
                  <a:off x="6251144" y="971379"/>
                  <a:ext cx="2438400" cy="222513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1B67B8"/>
                </a:solidFill>
                <a:ln w="0">
                  <a:solidFill>
                    <a:srgbClr val="1B67B8"/>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endParaRPr>
                </a:p>
              </p:txBody>
            </p:sp>
            <p:pic>
              <p:nvPicPr>
                <p:cNvPr id="306" name="Picture 305">
                  <a:extLst>
                    <a:ext uri="{FF2B5EF4-FFF2-40B4-BE49-F238E27FC236}">
                      <a16:creationId xmlns:a16="http://schemas.microsoft.com/office/drawing/2014/main" id="{080B6B5D-657F-4BFA-BCBA-646A2B251CF0}"/>
                    </a:ext>
                  </a:extLst>
                </p:cNvPr>
                <p:cNvPicPr>
                  <a:picLocks noChangeAspect="1"/>
                </p:cNvPicPr>
                <p:nvPr/>
              </p:nvPicPr>
              <p:blipFill rotWithShape="1">
                <a:blip r:embed="rId9">
                  <a:duotone>
                    <a:srgbClr val="0078D7">
                      <a:shade val="45000"/>
                      <a:satMod val="135000"/>
                    </a:srgbClr>
                    <a:prstClr val="white"/>
                  </a:duotone>
                  <a:extLst>
                    <a:ext uri="{BEBA8EAE-BF5A-486C-A8C5-ECC9F3942E4B}">
                      <a14:imgProps xmlns:a14="http://schemas.microsoft.com/office/drawing/2010/main">
                        <a14:imgLayer r:embed="rId10">
                          <a14:imgEffect>
                            <a14:saturation sat="66000"/>
                          </a14:imgEffect>
                        </a14:imgLayer>
                      </a14:imgProps>
                    </a:ext>
                  </a:extLst>
                </a:blip>
                <a:srcRect l="10169" t="7042" r="3549" b="12982"/>
                <a:stretch/>
              </p:blipFill>
              <p:spPr>
                <a:xfrm>
                  <a:off x="6419011" y="1120583"/>
                  <a:ext cx="2118131" cy="1426894"/>
                </a:xfrm>
                <a:prstGeom prst="rect">
                  <a:avLst/>
                </a:prstGeom>
                <a:solidFill>
                  <a:srgbClr val="0078D7"/>
                </a:solidFill>
              </p:spPr>
            </p:pic>
          </p:grpSp>
          <p:grpSp>
            <p:nvGrpSpPr>
              <p:cNvPr id="283" name="Group 282">
                <a:extLst>
                  <a:ext uri="{FF2B5EF4-FFF2-40B4-BE49-F238E27FC236}">
                    <a16:creationId xmlns:a16="http://schemas.microsoft.com/office/drawing/2014/main" id="{4EA8B3A1-59F1-436D-B80F-EB66EF311EC7}"/>
                  </a:ext>
                </a:extLst>
              </p:cNvPr>
              <p:cNvGrpSpPr/>
              <p:nvPr/>
            </p:nvGrpSpPr>
            <p:grpSpPr>
              <a:xfrm>
                <a:off x="623007" y="2414035"/>
                <a:ext cx="476890" cy="435180"/>
                <a:chOff x="3875698" y="2985881"/>
                <a:chExt cx="1851848" cy="1689881"/>
              </a:xfrm>
            </p:grpSpPr>
            <p:sp>
              <p:nvSpPr>
                <p:cNvPr id="302" name="Rectangle 301">
                  <a:extLst>
                    <a:ext uri="{FF2B5EF4-FFF2-40B4-BE49-F238E27FC236}">
                      <a16:creationId xmlns:a16="http://schemas.microsoft.com/office/drawing/2014/main" id="{51219077-0741-486F-9DBD-D105A60C0116}"/>
                    </a:ext>
                  </a:extLst>
                </p:cNvPr>
                <p:cNvSpPr/>
                <p:nvPr/>
              </p:nvSpPr>
              <p:spPr>
                <a:xfrm>
                  <a:off x="3962136" y="3088676"/>
                  <a:ext cx="1646501" cy="1131196"/>
                </a:xfrm>
                <a:prstGeom prst="rect">
                  <a:avLst/>
                </a:prstGeom>
                <a:solidFill>
                  <a:srgbClr val="0078D7"/>
                </a:solidFill>
                <a:ln w="10795" cap="flat" cmpd="sng" algn="ctr">
                  <a:noFill/>
                  <a:prstDash val="solid"/>
                </a:ln>
                <a:effectLst/>
              </p:spPr>
              <p:txBody>
                <a:bodyPr rtlCol="0" anchor="ctr"/>
                <a:lstStyle/>
                <a:p>
                  <a:pPr algn="ctr" defTabSz="913698">
                    <a:defRPr/>
                  </a:pPr>
                  <a:endParaRPr lang="en-US" kern="0">
                    <a:solidFill>
                      <a:prstClr val="white"/>
                    </a:solidFill>
                    <a:latin typeface="Segoe UI"/>
                  </a:endParaRPr>
                </a:p>
              </p:txBody>
            </p:sp>
            <p:pic>
              <p:nvPicPr>
                <p:cNvPr id="303" name="Picture 46">
                  <a:extLst>
                    <a:ext uri="{FF2B5EF4-FFF2-40B4-BE49-F238E27FC236}">
                      <a16:creationId xmlns:a16="http://schemas.microsoft.com/office/drawing/2014/main" id="{27FBD476-6FA7-4247-A01B-7417E15DF26C}"/>
                    </a:ext>
                  </a:extLst>
                </p:cNvPr>
                <p:cNvPicPr>
                  <a:picLocks noChangeAspect="1"/>
                </p:cNvPicPr>
                <p:nvPr/>
              </p:nvPicPr>
              <p:blipFill rotWithShape="1">
                <a:blip r:embed="rId11">
                  <a:biLevel thresh="50000"/>
                  <a:extLst>
                    <a:ext uri="{28A0092B-C50C-407E-A947-70E740481C1C}">
                      <a14:useLocalDpi xmlns:a14="http://schemas.microsoft.com/office/drawing/2010/main" val="0"/>
                    </a:ext>
                  </a:extLst>
                </a:blip>
                <a:srcRect l="29094" t="18489" r="30580" b="33441"/>
                <a:stretch/>
              </p:blipFill>
              <p:spPr bwMode="auto">
                <a:xfrm>
                  <a:off x="4425998" y="3349098"/>
                  <a:ext cx="779311" cy="726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4" name="Freeform 5">
                  <a:extLst>
                    <a:ext uri="{FF2B5EF4-FFF2-40B4-BE49-F238E27FC236}">
                      <a16:creationId xmlns:a16="http://schemas.microsoft.com/office/drawing/2014/main" id="{3A283FEB-CEC1-425D-B1E5-2396418F6491}"/>
                    </a:ext>
                  </a:extLst>
                </p:cNvPr>
                <p:cNvSpPr>
                  <a:spLocks noEditPoints="1"/>
                </p:cNvSpPr>
                <p:nvPr/>
              </p:nvSpPr>
              <p:spPr bwMode="auto">
                <a:xfrm>
                  <a:off x="3875698" y="2985881"/>
                  <a:ext cx="1851848" cy="1689881"/>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1B67B8"/>
                </a:solidFill>
                <a:ln w="0">
                  <a:solidFill>
                    <a:srgbClr val="1B67B8"/>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endParaRPr>
                </a:p>
              </p:txBody>
            </p:sp>
          </p:grpSp>
          <p:grpSp>
            <p:nvGrpSpPr>
              <p:cNvPr id="284" name="Group 283">
                <a:extLst>
                  <a:ext uri="{FF2B5EF4-FFF2-40B4-BE49-F238E27FC236}">
                    <a16:creationId xmlns:a16="http://schemas.microsoft.com/office/drawing/2014/main" id="{75ECCE66-54E4-48F9-A463-13FEAC2F407D}"/>
                  </a:ext>
                </a:extLst>
              </p:cNvPr>
              <p:cNvGrpSpPr/>
              <p:nvPr/>
            </p:nvGrpSpPr>
            <p:grpSpPr>
              <a:xfrm>
                <a:off x="527848" y="4487862"/>
                <a:ext cx="2803461" cy="2237816"/>
                <a:chOff x="6544492" y="479682"/>
                <a:chExt cx="2803461" cy="2237816"/>
              </a:xfrm>
            </p:grpSpPr>
            <p:grpSp>
              <p:nvGrpSpPr>
                <p:cNvPr id="288" name="Group 287">
                  <a:extLst>
                    <a:ext uri="{FF2B5EF4-FFF2-40B4-BE49-F238E27FC236}">
                      <a16:creationId xmlns:a16="http://schemas.microsoft.com/office/drawing/2014/main" id="{EBFDBE99-E12D-499F-A58C-A286ED368D70}"/>
                    </a:ext>
                  </a:extLst>
                </p:cNvPr>
                <p:cNvGrpSpPr/>
                <p:nvPr/>
              </p:nvGrpSpPr>
              <p:grpSpPr>
                <a:xfrm>
                  <a:off x="6544492" y="479682"/>
                  <a:ext cx="2776513" cy="2237816"/>
                  <a:chOff x="8877619" y="-322895"/>
                  <a:chExt cx="2776513" cy="2237816"/>
                </a:xfrm>
              </p:grpSpPr>
              <p:sp>
                <p:nvSpPr>
                  <p:cNvPr id="290" name="Rectangle 289">
                    <a:extLst>
                      <a:ext uri="{FF2B5EF4-FFF2-40B4-BE49-F238E27FC236}">
                        <a16:creationId xmlns:a16="http://schemas.microsoft.com/office/drawing/2014/main" id="{7C8A7294-1171-4899-8B29-80A586F26FA0}"/>
                      </a:ext>
                    </a:extLst>
                  </p:cNvPr>
                  <p:cNvSpPr/>
                  <p:nvPr/>
                </p:nvSpPr>
                <p:spPr>
                  <a:xfrm>
                    <a:off x="9396234" y="-322895"/>
                    <a:ext cx="2257898" cy="2229091"/>
                  </a:xfrm>
                  <a:prstGeom prst="rect">
                    <a:avLst/>
                  </a:prstGeom>
                  <a:solidFill>
                    <a:srgbClr val="FFFFFF"/>
                  </a:solidFill>
                  <a:ln w="38100" cap="flat" cmpd="sng" algn="ctr">
                    <a:solidFill>
                      <a:srgbClr val="0078D7"/>
                    </a:solidFill>
                    <a:prstDash val="solid"/>
                  </a:ln>
                  <a:effectLst/>
                </p:spPr>
                <p:txBody>
                  <a:bodyPr rtlCol="0" anchor="ctr"/>
                  <a:lstStyle/>
                  <a:p>
                    <a:pPr algn="ctr" defTabSz="913698">
                      <a:defRPr/>
                    </a:pPr>
                    <a:endParaRPr lang="en-US" kern="0">
                      <a:solidFill>
                        <a:prstClr val="white"/>
                      </a:solidFill>
                      <a:latin typeface="Segoe UI"/>
                    </a:endParaRPr>
                  </a:p>
                </p:txBody>
              </p:sp>
              <p:sp>
                <p:nvSpPr>
                  <p:cNvPr id="291" name="Freeform 207">
                    <a:extLst>
                      <a:ext uri="{FF2B5EF4-FFF2-40B4-BE49-F238E27FC236}">
                        <a16:creationId xmlns:a16="http://schemas.microsoft.com/office/drawing/2014/main" id="{A52E9B1A-2E79-4488-A713-508314E3B133}"/>
                      </a:ext>
                    </a:extLst>
                  </p:cNvPr>
                  <p:cNvSpPr>
                    <a:spLocks/>
                  </p:cNvSpPr>
                  <p:nvPr/>
                </p:nvSpPr>
                <p:spPr bwMode="auto">
                  <a:xfrm>
                    <a:off x="11002707" y="20706"/>
                    <a:ext cx="549907" cy="356441"/>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41">
                      <a:defRPr/>
                    </a:pPr>
                    <a:endParaRPr lang="en-US" sz="1765" kern="0">
                      <a:solidFill>
                        <a:srgbClr val="000000"/>
                      </a:solidFill>
                      <a:latin typeface="Segoe UI"/>
                    </a:endParaRPr>
                  </a:p>
                </p:txBody>
              </p:sp>
              <p:sp>
                <p:nvSpPr>
                  <p:cNvPr id="292" name="Freeform 206">
                    <a:extLst>
                      <a:ext uri="{FF2B5EF4-FFF2-40B4-BE49-F238E27FC236}">
                        <a16:creationId xmlns:a16="http://schemas.microsoft.com/office/drawing/2014/main" id="{E865F7D2-E60B-4E03-9082-11636978802E}"/>
                      </a:ext>
                    </a:extLst>
                  </p:cNvPr>
                  <p:cNvSpPr>
                    <a:spLocks/>
                  </p:cNvSpPr>
                  <p:nvPr/>
                </p:nvSpPr>
                <p:spPr bwMode="auto">
                  <a:xfrm>
                    <a:off x="10098943" y="248882"/>
                    <a:ext cx="712030" cy="46775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41">
                      <a:defRPr/>
                    </a:pPr>
                    <a:endParaRPr lang="en-US" sz="1765" kern="0">
                      <a:solidFill>
                        <a:srgbClr val="000000"/>
                      </a:solidFill>
                      <a:latin typeface="Segoe UI"/>
                    </a:endParaRPr>
                  </a:p>
                </p:txBody>
              </p:sp>
              <p:pic>
                <p:nvPicPr>
                  <p:cNvPr id="293" name="Picture 292">
                    <a:extLst>
                      <a:ext uri="{FF2B5EF4-FFF2-40B4-BE49-F238E27FC236}">
                        <a16:creationId xmlns:a16="http://schemas.microsoft.com/office/drawing/2014/main" id="{833904B2-1559-4BAB-88DA-7B5DC04E50FF}"/>
                      </a:ext>
                    </a:extLst>
                  </p:cNvPr>
                  <p:cNvPicPr>
                    <a:picLocks noChangeAspect="1"/>
                  </p:cNvPicPr>
                  <p:nvPr/>
                </p:nvPicPr>
                <p:blipFill>
                  <a:blip r:embed="rId12">
                    <a:duotone>
                      <a:srgbClr val="E6E6E6">
                        <a:shade val="45000"/>
                        <a:satMod val="135000"/>
                      </a:srgbClr>
                      <a:prstClr val="white"/>
                    </a:duotone>
                  </a:blip>
                  <a:stretch>
                    <a:fillRect/>
                  </a:stretch>
                </p:blipFill>
                <p:spPr>
                  <a:xfrm>
                    <a:off x="10236072" y="231632"/>
                    <a:ext cx="1264406" cy="1683289"/>
                  </a:xfrm>
                  <a:prstGeom prst="rect">
                    <a:avLst/>
                  </a:prstGeom>
                </p:spPr>
              </p:pic>
              <p:sp>
                <p:nvSpPr>
                  <p:cNvPr id="294" name="Rectangle 293">
                    <a:extLst>
                      <a:ext uri="{FF2B5EF4-FFF2-40B4-BE49-F238E27FC236}">
                        <a16:creationId xmlns:a16="http://schemas.microsoft.com/office/drawing/2014/main" id="{8BED44D3-D595-40D0-B6C4-9898EE2BA40E}"/>
                      </a:ext>
                    </a:extLst>
                  </p:cNvPr>
                  <p:cNvSpPr/>
                  <p:nvPr/>
                </p:nvSpPr>
                <p:spPr bwMode="auto">
                  <a:xfrm>
                    <a:off x="8877619" y="340065"/>
                    <a:ext cx="1168404" cy="1252197"/>
                  </a:xfrm>
                  <a:prstGeom prst="rect">
                    <a:avLst/>
                  </a:prstGeom>
                  <a:solidFill>
                    <a:srgbClr val="FFFFFF"/>
                  </a:solidFill>
                  <a:ln w="3810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5" name="Freeform 5">
                    <a:extLst>
                      <a:ext uri="{FF2B5EF4-FFF2-40B4-BE49-F238E27FC236}">
                        <a16:creationId xmlns:a16="http://schemas.microsoft.com/office/drawing/2014/main" id="{C9BF0629-31B5-41E5-9B14-0CA7CCB67DD8}"/>
                      </a:ext>
                    </a:extLst>
                  </p:cNvPr>
                  <p:cNvSpPr>
                    <a:spLocks noEditPoints="1"/>
                  </p:cNvSpPr>
                  <p:nvPr/>
                </p:nvSpPr>
                <p:spPr bwMode="auto">
                  <a:xfrm>
                    <a:off x="8979175" y="463663"/>
                    <a:ext cx="417059" cy="38058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1B67B8"/>
                  </a:solidFill>
                  <a:ln w="0">
                    <a:solidFill>
                      <a:srgbClr val="1B67B8"/>
                    </a:solid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endParaRPr>
                  </a:p>
                </p:txBody>
              </p:sp>
              <p:pic>
                <p:nvPicPr>
                  <p:cNvPr id="296" name="Picture 295">
                    <a:extLst>
                      <a:ext uri="{FF2B5EF4-FFF2-40B4-BE49-F238E27FC236}">
                        <a16:creationId xmlns:a16="http://schemas.microsoft.com/office/drawing/2014/main" id="{71A69A36-BDBF-4CAB-BC07-FA6AA47191BC}"/>
                      </a:ext>
                    </a:extLst>
                  </p:cNvPr>
                  <p:cNvPicPr>
                    <a:picLocks noChangeAspect="1"/>
                  </p:cNvPicPr>
                  <p:nvPr/>
                </p:nvPicPr>
                <p:blipFill>
                  <a:blip r:embed="rId13" cstate="print">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8966175" y="903425"/>
                    <a:ext cx="556407" cy="556407"/>
                  </a:xfrm>
                  <a:prstGeom prst="rect">
                    <a:avLst/>
                  </a:prstGeom>
                </p:spPr>
              </p:pic>
              <p:grpSp>
                <p:nvGrpSpPr>
                  <p:cNvPr id="297" name="Group 296">
                    <a:extLst>
                      <a:ext uri="{FF2B5EF4-FFF2-40B4-BE49-F238E27FC236}">
                        <a16:creationId xmlns:a16="http://schemas.microsoft.com/office/drawing/2014/main" id="{3B8EEF6B-3FD9-4431-A20A-C07208316FD5}"/>
                      </a:ext>
                    </a:extLst>
                  </p:cNvPr>
                  <p:cNvGrpSpPr/>
                  <p:nvPr/>
                </p:nvGrpSpPr>
                <p:grpSpPr>
                  <a:xfrm>
                    <a:off x="9413645" y="643239"/>
                    <a:ext cx="577019" cy="548716"/>
                    <a:chOff x="2315114" y="-301375"/>
                    <a:chExt cx="3166233" cy="3010928"/>
                  </a:xfrm>
                </p:grpSpPr>
                <p:pic>
                  <p:nvPicPr>
                    <p:cNvPr id="298" name="Picture 297">
                      <a:extLst>
                        <a:ext uri="{FF2B5EF4-FFF2-40B4-BE49-F238E27FC236}">
                          <a16:creationId xmlns:a16="http://schemas.microsoft.com/office/drawing/2014/main" id="{7B3B631C-8067-4654-BEA3-1CA7AD717C4A}"/>
                        </a:ext>
                      </a:extLst>
                    </p:cNvPr>
                    <p:cNvPicPr>
                      <a:picLocks noChangeAspect="1"/>
                    </p:cNvPicPr>
                    <p:nvPr/>
                  </p:nvPicPr>
                  <p:blipFill>
                    <a:blip r:embed="rId14" cstate="print">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2315114" y="-301375"/>
                      <a:ext cx="3010928" cy="3010928"/>
                    </a:xfrm>
                    <a:prstGeom prst="rect">
                      <a:avLst/>
                    </a:prstGeom>
                  </p:spPr>
                </p:pic>
                <p:grpSp>
                  <p:nvGrpSpPr>
                    <p:cNvPr id="299" name="Group 298">
                      <a:extLst>
                        <a:ext uri="{FF2B5EF4-FFF2-40B4-BE49-F238E27FC236}">
                          <a16:creationId xmlns:a16="http://schemas.microsoft.com/office/drawing/2014/main" id="{78405251-F95B-4039-9EE7-8A833AD8CE62}"/>
                        </a:ext>
                      </a:extLst>
                    </p:cNvPr>
                    <p:cNvGrpSpPr/>
                    <p:nvPr/>
                  </p:nvGrpSpPr>
                  <p:grpSpPr>
                    <a:xfrm>
                      <a:off x="4031538" y="1226142"/>
                      <a:ext cx="1449809" cy="1298655"/>
                      <a:chOff x="5224439" y="951373"/>
                      <a:chExt cx="1449809" cy="1298655"/>
                    </a:xfrm>
                  </p:grpSpPr>
                  <p:sp>
                    <p:nvSpPr>
                      <p:cNvPr id="300" name="Rectangle 299">
                        <a:extLst>
                          <a:ext uri="{FF2B5EF4-FFF2-40B4-BE49-F238E27FC236}">
                            <a16:creationId xmlns:a16="http://schemas.microsoft.com/office/drawing/2014/main" id="{59BE986C-4126-4645-B312-28E261ACF1E9}"/>
                          </a:ext>
                        </a:extLst>
                      </p:cNvPr>
                      <p:cNvSpPr/>
                      <p:nvPr/>
                    </p:nvSpPr>
                    <p:spPr bwMode="auto">
                      <a:xfrm>
                        <a:off x="5224439" y="951373"/>
                        <a:ext cx="1449809" cy="12986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01" name="Picture 300">
                        <a:extLst>
                          <a:ext uri="{FF2B5EF4-FFF2-40B4-BE49-F238E27FC236}">
                            <a16:creationId xmlns:a16="http://schemas.microsoft.com/office/drawing/2014/main" id="{2BE3F378-9B19-4CDC-BBF7-8A2B80EBB94C}"/>
                          </a:ext>
                        </a:extLst>
                      </p:cNvPr>
                      <p:cNvPicPr>
                        <a:picLocks noChangeAspect="1"/>
                      </p:cNvPicPr>
                      <p:nvPr/>
                    </p:nvPicPr>
                    <p:blipFill>
                      <a:blip r:embed="rId15">
                        <a:duotone>
                          <a:srgbClr val="0078D7">
                            <a:shade val="45000"/>
                            <a:satMod val="135000"/>
                          </a:srgbClr>
                          <a:prstClr val="white"/>
                        </a:duotone>
                      </a:blip>
                      <a:stretch>
                        <a:fillRect/>
                      </a:stretch>
                    </p:blipFill>
                    <p:spPr>
                      <a:xfrm>
                        <a:off x="5315988" y="999918"/>
                        <a:ext cx="1250107" cy="1250110"/>
                      </a:xfrm>
                      <a:prstGeom prst="rect">
                        <a:avLst/>
                      </a:prstGeom>
                    </p:spPr>
                  </p:pic>
                </p:grpSp>
              </p:grpSp>
            </p:grpSp>
            <p:sp>
              <p:nvSpPr>
                <p:cNvPr id="289" name="Rectangle 288">
                  <a:extLst>
                    <a:ext uri="{FF2B5EF4-FFF2-40B4-BE49-F238E27FC236}">
                      <a16:creationId xmlns:a16="http://schemas.microsoft.com/office/drawing/2014/main" id="{27D48CBE-CB91-4954-99BE-143B72D50016}"/>
                    </a:ext>
                  </a:extLst>
                </p:cNvPr>
                <p:cNvSpPr/>
                <p:nvPr/>
              </p:nvSpPr>
              <p:spPr>
                <a:xfrm>
                  <a:off x="6926525" y="570757"/>
                  <a:ext cx="2421428" cy="430887"/>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7679" fontAlgn="base">
                    <a:spcAft>
                      <a:spcPct val="0"/>
                    </a:spcAft>
                    <a:defRPr/>
                  </a:pPr>
                  <a:r>
                    <a:rPr lang="en-US" sz="1372" b="1">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ON-PREMISES, PRIVATE </a:t>
                  </a:r>
                  <a:br>
                    <a:rPr lang="en-US" sz="1372" b="1">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br>
                  <a:r>
                    <a:rPr lang="en-US" sz="1372" b="1">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AND PUBLIC CLOUDS</a:t>
                  </a:r>
                </a:p>
              </p:txBody>
            </p:sp>
          </p:grpSp>
          <p:cxnSp>
            <p:nvCxnSpPr>
              <p:cNvPr id="285" name="Straight Connector 284">
                <a:extLst>
                  <a:ext uri="{FF2B5EF4-FFF2-40B4-BE49-F238E27FC236}">
                    <a16:creationId xmlns:a16="http://schemas.microsoft.com/office/drawing/2014/main" id="{DB60AA29-851C-4F43-9B6A-C0E7F56DC117}"/>
                  </a:ext>
                </a:extLst>
              </p:cNvPr>
              <p:cNvCxnSpPr>
                <a:cxnSpLocks/>
              </p:cNvCxnSpPr>
              <p:nvPr/>
            </p:nvCxnSpPr>
            <p:spPr>
              <a:xfrm>
                <a:off x="732824" y="2963862"/>
                <a:ext cx="0" cy="2186959"/>
              </a:xfrm>
              <a:prstGeom prst="line">
                <a:avLst/>
              </a:prstGeom>
              <a:noFill/>
              <a:ln w="38100" cap="flat" cmpd="sng" algn="ctr">
                <a:solidFill>
                  <a:srgbClr val="E6E6E6">
                    <a:lumMod val="50000"/>
                  </a:srgbClr>
                </a:solidFill>
                <a:prstDash val="solid"/>
                <a:headEnd type="none"/>
                <a:tailEnd type="none"/>
              </a:ln>
              <a:effectLst/>
            </p:spPr>
          </p:cxnSp>
          <p:sp>
            <p:nvSpPr>
              <p:cNvPr id="286" name="TextBox 285">
                <a:extLst>
                  <a:ext uri="{FF2B5EF4-FFF2-40B4-BE49-F238E27FC236}">
                    <a16:creationId xmlns:a16="http://schemas.microsoft.com/office/drawing/2014/main" id="{DA4E0A2C-AE0C-44FC-AC6E-55F6DE78242D}"/>
                  </a:ext>
                </a:extLst>
              </p:cNvPr>
              <p:cNvSpPr txBox="1"/>
              <p:nvPr/>
            </p:nvSpPr>
            <p:spPr>
              <a:xfrm>
                <a:off x="493192" y="3351390"/>
                <a:ext cx="1896591" cy="814531"/>
              </a:xfrm>
              <a:prstGeom prst="rect">
                <a:avLst/>
              </a:prstGeom>
              <a:solidFill>
                <a:srgbClr val="E6E6E6"/>
              </a:solidFill>
              <a:ln w="38100" cap="flat" cmpd="sng" algn="ctr">
                <a:no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896386">
                  <a:defRPr/>
                </a:pPr>
                <a:endParaRPr lang="en-US" sz="1372" kern="0" cap="all">
                  <a:solidFill>
                    <a:srgbClr val="353535">
                      <a:lumMod val="85000"/>
                      <a:lumOff val="15000"/>
                    </a:srgbClr>
                  </a:solidFill>
                  <a:latin typeface="Segoe UI Semilight"/>
                </a:endParaRPr>
              </a:p>
            </p:txBody>
          </p:sp>
          <p:sp>
            <p:nvSpPr>
              <p:cNvPr id="287" name="TextBox 286">
                <a:extLst>
                  <a:ext uri="{FF2B5EF4-FFF2-40B4-BE49-F238E27FC236}">
                    <a16:creationId xmlns:a16="http://schemas.microsoft.com/office/drawing/2014/main" id="{FEC81856-5FC4-44F1-B469-E4ABACAE2E5E}"/>
                  </a:ext>
                </a:extLst>
              </p:cNvPr>
              <p:cNvSpPr txBox="1"/>
              <p:nvPr/>
            </p:nvSpPr>
            <p:spPr>
              <a:xfrm>
                <a:off x="493191" y="3365617"/>
                <a:ext cx="1686445" cy="1109414"/>
              </a:xfrm>
              <a:prstGeom prst="rect">
                <a:avLst/>
              </a:prstGeom>
              <a:noFill/>
              <a:ln>
                <a:noFill/>
              </a:ln>
            </p:spPr>
            <p:txBody>
              <a:bodyPr wrap="square" rtlCol="0">
                <a:spAutoFit/>
              </a:bodyPr>
              <a:lstStyle/>
              <a:p>
                <a:pPr defTabSz="1117679" fontAlgn="base">
                  <a:spcAft>
                    <a:spcPct val="0"/>
                  </a:spcAft>
                  <a:defRPr/>
                </a:pPr>
                <a: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WINDOWS &amp;</a:t>
                </a:r>
                <a:b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br>
                <a:r>
                  <a:rPr lang="en-US" sz="1078"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t>LINUX AGENTS</a:t>
                </a:r>
              </a:p>
              <a:p>
                <a:pPr defTabSz="896386">
                  <a:defRPr/>
                </a:pPr>
                <a:r>
                  <a:rPr lang="en-US" sz="1078"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Windows Events, Syslog, CEF (Common Event Format), Configurations</a:t>
                </a:r>
                <a:endParaRPr lang="en-US" sz="1176" kern="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endParaRPr>
              </a:p>
            </p:txBody>
          </p:sp>
        </p:grpSp>
        <p:sp>
          <p:nvSpPr>
            <p:cNvPr id="276" name="Rectangle 275">
              <a:extLst>
                <a:ext uri="{FF2B5EF4-FFF2-40B4-BE49-F238E27FC236}">
                  <a16:creationId xmlns:a16="http://schemas.microsoft.com/office/drawing/2014/main" id="{F3117691-E8DD-4163-9817-5A7E5EDA4BAB}"/>
                </a:ext>
              </a:extLst>
            </p:cNvPr>
            <p:cNvSpPr/>
            <p:nvPr/>
          </p:nvSpPr>
          <p:spPr bwMode="auto">
            <a:xfrm>
              <a:off x="1760671" y="1770266"/>
              <a:ext cx="1094548" cy="1002788"/>
            </a:xfrm>
            <a:prstGeom prst="rect">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77" name="Picture 276">
              <a:extLst>
                <a:ext uri="{FF2B5EF4-FFF2-40B4-BE49-F238E27FC236}">
                  <a16:creationId xmlns:a16="http://schemas.microsoft.com/office/drawing/2014/main" id="{4375FF19-2AEE-465D-BA33-82F6FEA1BD10}"/>
                </a:ext>
              </a:extLst>
            </p:cNvPr>
            <p:cNvPicPr>
              <a:picLocks noChangeAspect="1"/>
            </p:cNvPicPr>
            <p:nvPr/>
          </p:nvPicPr>
          <p:blipFill>
            <a:blip r:embed="rId16"/>
            <a:stretch>
              <a:fillRect/>
            </a:stretch>
          </p:blipFill>
          <p:spPr>
            <a:xfrm>
              <a:off x="1951037" y="1921278"/>
              <a:ext cx="780356" cy="743776"/>
            </a:xfrm>
            <a:prstGeom prst="rect">
              <a:avLst/>
            </a:prstGeom>
          </p:spPr>
        </p:pic>
      </p:grpSp>
    </p:spTree>
    <p:extLst>
      <p:ext uri="{BB962C8B-B14F-4D97-AF65-F5344CB8AC3E}">
        <p14:creationId xmlns:p14="http://schemas.microsoft.com/office/powerpoint/2010/main" val="350493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Unified Visibility</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Azure Security Center</a:t>
            </a:r>
            <a:endParaRPr lang="en-IN" dirty="0"/>
          </a:p>
        </p:txBody>
      </p:sp>
    </p:spTree>
    <p:extLst>
      <p:ext uri="{BB962C8B-B14F-4D97-AF65-F5344CB8AC3E}">
        <p14:creationId xmlns:p14="http://schemas.microsoft.com/office/powerpoint/2010/main" val="291187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3.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5.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Synergetic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ynergetics" id="{7148B0CF-40DA-450B-B5E1-A56075EFA433}" vid="{3F91DC18-A746-44C9-B412-3C2FFF1DCFE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99701729CAAB47AA13756597E53F4C" ma:contentTypeVersion="12" ma:contentTypeDescription="Create a new document." ma:contentTypeScope="" ma:versionID="4f6f6da8b0db685529ca83876389b8a6">
  <xsd:schema xmlns:xsd="http://www.w3.org/2001/XMLSchema" xmlns:xs="http://www.w3.org/2001/XMLSchema" xmlns:p="http://schemas.microsoft.com/office/2006/metadata/properties" xmlns:ns3="2dcf4534-d91c-46e6-a511-773e0c751128" xmlns:ns4="b5610f89-eaf0-4c24-bd28-02d36860b714" targetNamespace="http://schemas.microsoft.com/office/2006/metadata/properties" ma:root="true" ma:fieldsID="5dae91267e3716936d10fdc96ddf1557" ns3:_="" ns4:_="">
    <xsd:import namespace="2dcf4534-d91c-46e6-a511-773e0c751128"/>
    <xsd:import namespace="b5610f89-eaf0-4c24-bd28-02d36860b71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cf4534-d91c-46e6-a511-773e0c7511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610f89-eaf0-4c24-bd28-02d36860b714"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91DBAA-73B1-46DE-A02B-B400BCCAEA24}">
  <ds:schemaRefs>
    <ds:schemaRef ds:uri="http://schemas.microsoft.com/office/2006/metadata/properties"/>
    <ds:schemaRef ds:uri="http://purl.org/dc/terms/"/>
    <ds:schemaRef ds:uri="b5610f89-eaf0-4c24-bd28-02d36860b714"/>
    <ds:schemaRef ds:uri="2dcf4534-d91c-46e6-a511-773e0c751128"/>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4E0CB067-B368-4D92-8668-371D8CE42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cf4534-d91c-46e6-a511-773e0c751128"/>
    <ds:schemaRef ds:uri="b5610f89-eaf0-4c24-bd28-02d36860b7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018208-8004-4CED-BF44-ED368E32B8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7</TotalTime>
  <Words>1025</Words>
  <Application>Microsoft Office PowerPoint</Application>
  <PresentationFormat>Widescreen</PresentationFormat>
  <Paragraphs>153</Paragraphs>
  <Slides>19</Slides>
  <Notes>13</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19</vt:i4>
      </vt:variant>
    </vt:vector>
  </HeadingPairs>
  <TitlesOfParts>
    <vt:vector size="38" baseType="lpstr">
      <vt:lpstr>Arial</vt:lpstr>
      <vt:lpstr>Arial Black</vt:lpstr>
      <vt:lpstr>Calibri</vt:lpstr>
      <vt:lpstr>Calibri Light</vt:lpstr>
      <vt:lpstr>Consolas</vt:lpstr>
      <vt:lpstr>Gill Sans</vt:lpstr>
      <vt:lpstr>Segoe Pro Semibold</vt:lpstr>
      <vt:lpstr>Segoe UI</vt:lpstr>
      <vt:lpstr>Segoe UI Light</vt:lpstr>
      <vt:lpstr>Segoe UI Semibold</vt:lpstr>
      <vt:lpstr>Segoe UI Semilight</vt:lpstr>
      <vt:lpstr>Wingdings</vt:lpstr>
      <vt:lpstr>C+E Readiness Template</vt:lpstr>
      <vt:lpstr>5-50173_Microsoft_Ready_Light_Template</vt:lpstr>
      <vt:lpstr>5-50173_Microsoft_Ready_Dark_Template</vt:lpstr>
      <vt:lpstr>WHITE TEMPLATE</vt:lpstr>
      <vt:lpstr>1_WHITE TEMPLATE</vt:lpstr>
      <vt:lpstr>Synergetics</vt:lpstr>
      <vt:lpstr>think-cell Slide</vt:lpstr>
      <vt:lpstr>Azure Security Posture</vt:lpstr>
      <vt:lpstr>Agenda</vt:lpstr>
      <vt:lpstr>Azure Security Center</vt:lpstr>
      <vt:lpstr>PowerPoint Presentation</vt:lpstr>
      <vt:lpstr>Azure Security Center helps unlock cloud opportunities</vt:lpstr>
      <vt:lpstr>Distributed security responsibilities</vt:lpstr>
      <vt:lpstr>Microsoft Azure Security Center</vt:lpstr>
      <vt:lpstr>PowerPoint Presentation</vt:lpstr>
      <vt:lpstr>Unified Visibility</vt:lpstr>
      <vt:lpstr>Understand security state across hybrid workloads</vt:lpstr>
      <vt:lpstr>Monitor the security state of resources – quickly identify vulnerabilities</vt:lpstr>
      <vt:lpstr>Ensure compliance with policy management</vt:lpstr>
      <vt:lpstr>Set security policies for subscriptions and resource groups</vt:lpstr>
      <vt:lpstr>Gain deeper insights with integrated log analytics </vt:lpstr>
      <vt:lpstr>Gain insight into the security state of subscriptions in Power BI</vt:lpstr>
      <vt:lpstr>Access security data in near real-time from your Security Information and Event Management (SIEM)</vt:lpstr>
      <vt:lpstr>Prioritized recommendations take the guesswork out of security for resource owners</vt:lpstr>
      <vt:lpstr>Analyze security information from variety of sources</vt:lpstr>
      <vt:lpstr>Integrate partner solu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dc:title>
  <dc:creator>Anand Prabhu</dc:creator>
  <cp:lastModifiedBy>Anand Prabhu</cp:lastModifiedBy>
  <cp:revision>3</cp:revision>
  <dcterms:created xsi:type="dcterms:W3CDTF">2020-04-24T05:02:23Z</dcterms:created>
  <dcterms:modified xsi:type="dcterms:W3CDTF">2021-03-31T10:4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99701729CAAB47AA13756597E53F4C</vt:lpwstr>
  </property>
</Properties>
</file>